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embeddings/oleObject1.bin" ContentType="application/vnd.openxmlformats-officedocument.oleObject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embeddings/oleObject2.bin" ContentType="application/vnd.openxmlformats-officedocument.oleObject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3.bin" ContentType="application/vnd.openxmlformats-officedocument.oleObject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embeddings/oleObject4.bin" ContentType="application/vnd.openxmlformats-officedocument.oleObject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5.bin" ContentType="application/vnd.openxmlformats-officedocument.oleObject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embeddings/oleObject6.bin" ContentType="application/vnd.openxmlformats-officedocument.oleObject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embeddings/oleObject7.bin" ContentType="application/vnd.openxmlformats-officedocument.oleObject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8.bin" ContentType="application/vnd.openxmlformats-officedocument.oleObject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8" r:id="rId2"/>
  </p:sldMasterIdLst>
  <p:notesMasterIdLst>
    <p:notesMasterId r:id="rId22"/>
  </p:notesMasterIdLst>
  <p:sldIdLst>
    <p:sldId id="273" r:id="rId3"/>
    <p:sldId id="287" r:id="rId4"/>
    <p:sldId id="288" r:id="rId5"/>
    <p:sldId id="291" r:id="rId6"/>
    <p:sldId id="292" r:id="rId7"/>
    <p:sldId id="290" r:id="rId8"/>
    <p:sldId id="312" r:id="rId9"/>
    <p:sldId id="304" r:id="rId10"/>
    <p:sldId id="310" r:id="rId11"/>
    <p:sldId id="307" r:id="rId12"/>
    <p:sldId id="306" r:id="rId13"/>
    <p:sldId id="311" r:id="rId14"/>
    <p:sldId id="305" r:id="rId15"/>
    <p:sldId id="308" r:id="rId16"/>
    <p:sldId id="299" r:id="rId17"/>
    <p:sldId id="298" r:id="rId18"/>
    <p:sldId id="302" r:id="rId19"/>
    <p:sldId id="303" r:id="rId20"/>
    <p:sldId id="286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9796" autoAdjust="0"/>
  </p:normalViewPr>
  <p:slideViewPr>
    <p:cSldViewPr snapToGrid="0">
      <p:cViewPr varScale="1">
        <p:scale>
          <a:sx n="85" d="100"/>
          <a:sy n="85" d="100"/>
        </p:scale>
        <p:origin x="-992" y="-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64586-E457-4DA2-850F-56E8A98B9446}" type="datetimeFigureOut">
              <a:rPr lang="en-US" smtClean="0"/>
              <a:t>22/1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CAE86-D6F9-454B-80C8-62FDB46064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974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1085D-19DC-4BB2-A1DC-C741C37960BD}" type="slidenum">
              <a:rPr lang="en-IN" smtClean="0">
                <a:solidFill>
                  <a:prstClr val="black"/>
                </a:solidFill>
              </a:rPr>
              <a:pPr/>
              <a:t>1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407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754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04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696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46650F7-0ECA-4D7C-AA03-0778B92843BE}" type="slidenum">
              <a:rPr lang="en-US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47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7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6" y="4343704"/>
            <a:ext cx="5030391" cy="4113892"/>
          </a:xfrm>
        </p:spPr>
        <p:txBody>
          <a:bodyPr/>
          <a:lstStyle/>
          <a:p>
            <a:endParaRPr lang="en-IN" b="1"/>
          </a:p>
        </p:txBody>
      </p:sp>
    </p:spTree>
    <p:extLst>
      <p:ext uri="{BB962C8B-B14F-4D97-AF65-F5344CB8AC3E}">
        <p14:creationId xmlns:p14="http://schemas.microsoft.com/office/powerpoint/2010/main" val="1298465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hairman'sdesk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302067" cy="691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911851" y="3690938"/>
            <a:ext cx="6144683" cy="576262"/>
          </a:xfrm>
        </p:spPr>
        <p:txBody>
          <a:bodyPr/>
          <a:lstStyle>
            <a:lvl1pPr marL="0" indent="0">
              <a:buFont typeface="Times" pitchFamily="80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4842" name="Rectangle 26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214554"/>
            <a:ext cx="5994400" cy="1143000"/>
          </a:xfrm>
        </p:spPr>
        <p:txBody>
          <a:bodyPr anchor="t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988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70E46-B847-4A1D-8D97-8BF7D7F8160F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F87DCD-37DC-48D2-9D7B-203E82F6B480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011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9634" y="990600"/>
            <a:ext cx="2747433" cy="45847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4" y="990600"/>
            <a:ext cx="8039100" cy="45847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F3B99D-AC0A-4425-AEE1-1AC897B145BC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F9776E-A433-4232-B310-0378A283B3CE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43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7387" y="354446"/>
            <a:ext cx="10947931" cy="251222"/>
          </a:xfrm>
        </p:spPr>
        <p:txBody>
          <a:bodyPr/>
          <a:lstStyle>
            <a:lvl1pPr>
              <a:defRPr sz="1600"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aseline="-25000" dirty="0">
              <a:solidFill>
                <a:srgbClr val="4C4C4C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47560" y="6644193"/>
            <a:ext cx="2539909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latin typeface="Calibri" pitchFamily="34" charset="0"/>
                <a:ea typeface="Calibri" pitchFamily="34" charset="0"/>
                <a:cs typeface="Arial" pitchFamily="-97" charset="0"/>
              </a:defRPr>
            </a:lvl1pPr>
          </a:lstStyle>
          <a:p>
            <a:pPr>
              <a:defRPr/>
            </a:pPr>
            <a:fld id="{DD63077E-93C6-4700-AE65-B948BAB89C7E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24480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cc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81001"/>
            <a:ext cx="11582400" cy="609600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4800" y="990600"/>
            <a:ext cx="11582400" cy="1588"/>
          </a:xfrm>
          <a:prstGeom prst="line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3531016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7334" y="990600"/>
            <a:ext cx="10989733" cy="4584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11733" y="6400800"/>
            <a:ext cx="24384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DB229-6E4A-4008-BFE4-1575C216F989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660400" y="6324600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56222E-8E75-4DD0-BA55-92F557565868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44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3" y="527648"/>
            <a:ext cx="11233151" cy="685801"/>
          </a:xfrm>
        </p:spPr>
        <p:txBody>
          <a:bodyPr anchor="t"/>
          <a:lstStyle>
            <a:lvl1pPr>
              <a:defRPr sz="165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48396" y="6642917"/>
            <a:ext cx="2543605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59E3F579-844F-4549-AAE2-12B17D9634FB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xfrm>
            <a:off x="0" y="6642917"/>
            <a:ext cx="3505200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8964BB13-5A89-4BAC-BF97-69CB0E7636A5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403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6500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hairman'sdesk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302067" cy="691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911851" y="3690938"/>
            <a:ext cx="6144683" cy="576262"/>
          </a:xfrm>
        </p:spPr>
        <p:txBody>
          <a:bodyPr/>
          <a:lstStyle>
            <a:lvl1pPr marL="0" indent="0">
              <a:buFont typeface="Times" pitchFamily="80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4842" name="Rectangle 26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214554"/>
            <a:ext cx="5994400" cy="1143000"/>
          </a:xfrm>
        </p:spPr>
        <p:txBody>
          <a:bodyPr anchor="t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86026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6A8506-708D-407A-B47C-15D690280A31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06FA2D-6A46-4E08-894D-4D88D6706FCE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576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181707-FB3D-48FC-9B6C-6921FB908B1D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EADE1C-C0DB-4432-8968-D17E03EB6FCA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952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6A8506-708D-407A-B47C-15D690280A31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06FA2D-6A46-4E08-894D-4D88D6706FCE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9028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4267" y="1993900"/>
            <a:ext cx="53848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2267" y="1993900"/>
            <a:ext cx="53848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089D7F-0E77-4A97-8EBE-C542EE492236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EF49F-42D5-4CE3-97FF-C178625F8A13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112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D685D-292B-40A6-B11E-6846A6CDBADD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8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92170-13A2-4B88-8BFE-CDE7718690D3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32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D6F9D8-B057-481A-A913-0EFEF78114F5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398B05-7095-4450-9FDB-5A32C99B9EC9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3744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6EF4C7-8D45-422C-AEEA-02D7C99D2B13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3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9EB44-AC4D-4709-B01B-0EA782A3E9CA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4179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831C5D-9C45-4739-88A6-4CA988A95593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0318C-02CC-4341-88D7-DD88A0448E39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4295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C0FCED-EFC5-4A40-8844-49721EC0101C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E5FF2-05B3-43C1-A270-E0E9E4DE1D54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548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70E46-B847-4A1D-8D97-8BF7D7F8160F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F87DCD-37DC-48D2-9D7B-203E82F6B480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974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9634" y="990600"/>
            <a:ext cx="2747433" cy="45847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4" y="990600"/>
            <a:ext cx="8039100" cy="45847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F3B99D-AC0A-4425-AEE1-1AC897B145BC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F9776E-A433-4232-B310-0378A283B3CE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5112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7387" y="354446"/>
            <a:ext cx="10947931" cy="251222"/>
          </a:xfrm>
        </p:spPr>
        <p:txBody>
          <a:bodyPr/>
          <a:lstStyle>
            <a:lvl1pPr>
              <a:defRPr sz="1600"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aseline="-25000" dirty="0">
              <a:solidFill>
                <a:srgbClr val="4C4C4C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47560" y="6644193"/>
            <a:ext cx="2539909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latin typeface="Calibri" pitchFamily="34" charset="0"/>
                <a:ea typeface="Calibri" pitchFamily="34" charset="0"/>
                <a:cs typeface="Arial" pitchFamily="-97" charset="0"/>
              </a:defRPr>
            </a:lvl1pPr>
          </a:lstStyle>
          <a:p>
            <a:pPr>
              <a:defRPr/>
            </a:pPr>
            <a:fld id="{DD63077E-93C6-4700-AE65-B948BAB89C7E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11132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cc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81001"/>
            <a:ext cx="11582400" cy="609600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4800" y="990600"/>
            <a:ext cx="11582400" cy="1588"/>
          </a:xfrm>
          <a:prstGeom prst="line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940396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181707-FB3D-48FC-9B6C-6921FB908B1D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EADE1C-C0DB-4432-8968-D17E03EB6FCA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3694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7334" y="990600"/>
            <a:ext cx="10989733" cy="4584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11733" y="6400800"/>
            <a:ext cx="24384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DB229-6E4A-4008-BFE4-1575C216F989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660400" y="6324600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56222E-8E75-4DD0-BA55-92F557565868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213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3" y="527648"/>
            <a:ext cx="11233151" cy="685801"/>
          </a:xfrm>
        </p:spPr>
        <p:txBody>
          <a:bodyPr anchor="t"/>
          <a:lstStyle>
            <a:lvl1pPr>
              <a:defRPr sz="165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48396" y="6642917"/>
            <a:ext cx="2543605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59E3F579-844F-4549-AAE2-12B17D9634FB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xfrm>
            <a:off x="0" y="6642917"/>
            <a:ext cx="3505200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8964BB13-5A89-4BAC-BF97-69CB0E7636A5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258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3" y="527648"/>
            <a:ext cx="11233151" cy="685801"/>
          </a:xfrm>
        </p:spPr>
        <p:txBody>
          <a:bodyPr anchor="t"/>
          <a:lstStyle>
            <a:lvl1pPr>
              <a:defRPr sz="165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48396" y="6642917"/>
            <a:ext cx="2543605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59E3F579-844F-4549-AAE2-12B17D9634FB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dt" sz="half" idx="11"/>
          </p:nvPr>
        </p:nvSpPr>
        <p:spPr>
          <a:xfrm>
            <a:off x="0" y="6642917"/>
            <a:ext cx="3505200" cy="228600"/>
          </a:xfrm>
          <a:ln/>
        </p:spPr>
        <p:txBody>
          <a:bodyPr anchor="b"/>
          <a:lstStyle>
            <a:lvl1pPr>
              <a:defRPr/>
            </a:lvl1pPr>
          </a:lstStyle>
          <a:p>
            <a:pPr>
              <a:defRPr/>
            </a:pPr>
            <a:fld id="{8964BB13-5A89-4BAC-BF97-69CB0E7636A5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88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4267" y="1993900"/>
            <a:ext cx="53848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2267" y="1993900"/>
            <a:ext cx="53848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089D7F-0E77-4A97-8EBE-C542EE492236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EF49F-42D5-4CE3-97FF-C178625F8A13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02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D685D-292B-40A6-B11E-6846A6CDBADD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8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92170-13A2-4B88-8BFE-CDE7718690D3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765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D6F9D8-B057-481A-A913-0EFEF78114F5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398B05-7095-4450-9FDB-5A32C99B9EC9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024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6EF4C7-8D45-422C-AEEA-02D7C99D2B13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3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9EB44-AC4D-4709-B01B-0EA782A3E9CA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88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831C5D-9C45-4739-88A6-4CA988A95593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0318C-02CC-4341-88D7-DD88A0448E39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560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C0FCED-EFC5-4A40-8844-49721EC0101C}" type="slidenum">
              <a:rPr lang="en-US">
                <a:solidFill>
                  <a:srgbClr val="4C4C4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" name="Rectangle 6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E5FF2-05B3-43C1-A270-E0E9E4DE1D54}" type="datetime5">
              <a:rPr lang="en-US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062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theme" Target="../theme/theme2.xml"/><Relationship Id="rId18" Type="http://schemas.openxmlformats.org/officeDocument/2006/relationships/image" Target="../media/image1.jpeg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4457121" y="733425"/>
            <a:ext cx="1847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aseline="-25000" dirty="0">
              <a:solidFill>
                <a:srgbClr val="4C4C4C"/>
              </a:solidFill>
            </a:endParaRPr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11733" y="6400800"/>
            <a:ext cx="2438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bg2"/>
                </a:solidFill>
                <a:latin typeface="+mn-lt"/>
                <a:ea typeface="ＭＳ Ｐゴシック" pitchFamily="8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1B28CC-F2E8-476F-8EEB-5B1B950FA988}" type="slidenum">
              <a:rPr lang="en-US">
                <a:solidFill>
                  <a:srgbClr val="4C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148" name="Rectangle 3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4267" y="1993900"/>
            <a:ext cx="109728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87" name="Rectangle 6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60400" y="6324600"/>
            <a:ext cx="2844800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 baseline="0">
                <a:solidFill>
                  <a:schemeClr val="bg2"/>
                </a:solidFill>
                <a:latin typeface="+mn-lt"/>
                <a:ea typeface="ＭＳ Ｐゴシック" pitchFamily="8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143C5D-CC37-4A76-9AD4-020CE18C734C}" type="datetime5">
              <a:rPr lang="en-US">
                <a:solidFill>
                  <a:srgbClr val="4C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pic>
        <p:nvPicPr>
          <p:cNvPr id="6150" name="Picture 67" descr="title0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-2117" y="0"/>
            <a:ext cx="12194117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1" name="Rectangle 32"/>
          <p:cNvSpPr>
            <a:spLocks noGrp="1" noChangeArrowheads="1"/>
          </p:cNvSpPr>
          <p:nvPr>
            <p:ph type="title"/>
          </p:nvPr>
        </p:nvSpPr>
        <p:spPr bwMode="auto">
          <a:xfrm>
            <a:off x="677333" y="990600"/>
            <a:ext cx="906145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619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725" r:id="rId16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2000">
          <a:solidFill>
            <a:srgbClr val="4D4D4F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2800">
          <a:solidFill>
            <a:srgbClr val="4D4D4F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600">
          <a:solidFill>
            <a:srgbClr val="4D4D4F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500">
          <a:solidFill>
            <a:srgbClr val="4D4D4F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400">
          <a:solidFill>
            <a:srgbClr val="4D4D4F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4457121" y="733425"/>
            <a:ext cx="1847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aseline="-25000" dirty="0">
              <a:solidFill>
                <a:srgbClr val="4C4C4C"/>
              </a:solidFill>
            </a:endParaRPr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17749" y="6400800"/>
            <a:ext cx="2438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bg2"/>
                </a:solidFill>
                <a:latin typeface="+mn-lt"/>
                <a:ea typeface="ＭＳ Ｐゴシック" pitchFamily="8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1B28CC-F2E8-476F-8EEB-5B1B950FA988}" type="slidenum">
              <a:rPr lang="en-US">
                <a:solidFill>
                  <a:srgbClr val="4C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6148" name="Rectangle 3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4267" y="1993900"/>
            <a:ext cx="109728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87" name="Rectangle 6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60400" y="6324600"/>
            <a:ext cx="2844800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 baseline="0">
                <a:solidFill>
                  <a:schemeClr val="bg2"/>
                </a:solidFill>
                <a:latin typeface="+mn-lt"/>
                <a:ea typeface="ＭＳ Ｐゴシック" pitchFamily="8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143C5D-CC37-4A76-9AD4-020CE18C734C}" type="datetime5">
              <a:rPr lang="en-US">
                <a:solidFill>
                  <a:srgbClr val="4C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pic>
        <p:nvPicPr>
          <p:cNvPr id="6150" name="Picture 67" descr="title0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-2117" y="0"/>
            <a:ext cx="12194117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1" name="Rectangle 32"/>
          <p:cNvSpPr>
            <a:spLocks noGrp="1" noChangeArrowheads="1"/>
          </p:cNvSpPr>
          <p:nvPr>
            <p:ph type="title"/>
          </p:nvPr>
        </p:nvSpPr>
        <p:spPr bwMode="auto">
          <a:xfrm>
            <a:off x="677333" y="990600"/>
            <a:ext cx="906145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3317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D4D4F"/>
          </a:solidFill>
          <a:latin typeface="Arial" charset="0"/>
          <a:ea typeface="ＭＳ Ｐゴシック" pitchFamily="80" charset="-128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2000">
          <a:solidFill>
            <a:srgbClr val="4D4D4F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2800">
          <a:solidFill>
            <a:srgbClr val="4D4D4F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600">
          <a:solidFill>
            <a:srgbClr val="4D4D4F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500">
          <a:solidFill>
            <a:srgbClr val="4D4D4F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lr>
          <a:srgbClr val="4D4D4F"/>
        </a:buClr>
        <a:buFont typeface="Times" pitchFamily="18" charset="0"/>
        <a:buChar char="•"/>
        <a:defRPr sz="1400">
          <a:solidFill>
            <a:srgbClr val="4D4D4F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lr>
          <a:srgbClr val="4D4D4F"/>
        </a:buClr>
        <a:buFont typeface="Times" pitchFamily="80" charset="0"/>
        <a:buChar char="•"/>
        <a:defRPr sz="1400">
          <a:solidFill>
            <a:srgbClr val="4D4D4F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tags" Target="../tags/tag128.xml"/><Relationship Id="rId25" Type="http://schemas.openxmlformats.org/officeDocument/2006/relationships/tags" Target="../tags/tag129.xml"/><Relationship Id="rId26" Type="http://schemas.openxmlformats.org/officeDocument/2006/relationships/tags" Target="../tags/tag130.xml"/><Relationship Id="rId27" Type="http://schemas.openxmlformats.org/officeDocument/2006/relationships/tags" Target="../tags/tag131.xml"/><Relationship Id="rId28" Type="http://schemas.openxmlformats.org/officeDocument/2006/relationships/tags" Target="../tags/tag132.xml"/><Relationship Id="rId29" Type="http://schemas.openxmlformats.org/officeDocument/2006/relationships/tags" Target="../tags/tag133.xml"/><Relationship Id="rId1" Type="http://schemas.openxmlformats.org/officeDocument/2006/relationships/vmlDrawing" Target="../drawings/vmlDrawing4.vml"/><Relationship Id="rId2" Type="http://schemas.openxmlformats.org/officeDocument/2006/relationships/tags" Target="../tags/tag106.xml"/><Relationship Id="rId3" Type="http://schemas.openxmlformats.org/officeDocument/2006/relationships/tags" Target="../tags/tag107.xml"/><Relationship Id="rId4" Type="http://schemas.openxmlformats.org/officeDocument/2006/relationships/tags" Target="../tags/tag108.xml"/><Relationship Id="rId5" Type="http://schemas.openxmlformats.org/officeDocument/2006/relationships/tags" Target="../tags/tag109.xml"/><Relationship Id="rId30" Type="http://schemas.openxmlformats.org/officeDocument/2006/relationships/tags" Target="../tags/tag134.xml"/><Relationship Id="rId31" Type="http://schemas.openxmlformats.org/officeDocument/2006/relationships/tags" Target="../tags/tag135.xml"/><Relationship Id="rId32" Type="http://schemas.openxmlformats.org/officeDocument/2006/relationships/tags" Target="../tags/tag136.xml"/><Relationship Id="rId9" Type="http://schemas.openxmlformats.org/officeDocument/2006/relationships/tags" Target="../tags/tag113.xml"/><Relationship Id="rId6" Type="http://schemas.openxmlformats.org/officeDocument/2006/relationships/tags" Target="../tags/tag110.xml"/><Relationship Id="rId7" Type="http://schemas.openxmlformats.org/officeDocument/2006/relationships/tags" Target="../tags/tag111.xml"/><Relationship Id="rId8" Type="http://schemas.openxmlformats.org/officeDocument/2006/relationships/tags" Target="../tags/tag112.xml"/><Relationship Id="rId33" Type="http://schemas.openxmlformats.org/officeDocument/2006/relationships/tags" Target="../tags/tag137.xml"/><Relationship Id="rId34" Type="http://schemas.openxmlformats.org/officeDocument/2006/relationships/tags" Target="../tags/tag138.xml"/><Relationship Id="rId35" Type="http://schemas.openxmlformats.org/officeDocument/2006/relationships/tags" Target="../tags/tag139.xml"/><Relationship Id="rId36" Type="http://schemas.openxmlformats.org/officeDocument/2006/relationships/tags" Target="../tags/tag140.xml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37" Type="http://schemas.openxmlformats.org/officeDocument/2006/relationships/slideLayout" Target="../slideLayouts/slideLayout16.xml"/><Relationship Id="rId38" Type="http://schemas.openxmlformats.org/officeDocument/2006/relationships/oleObject" Target="../embeddings/oleObject4.bin"/><Relationship Id="rId39" Type="http://schemas.openxmlformats.org/officeDocument/2006/relationships/image" Target="../media/image3.emf"/><Relationship Id="rId40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20" Type="http://schemas.openxmlformats.org/officeDocument/2006/relationships/tags" Target="../tags/tag159.xml"/><Relationship Id="rId21" Type="http://schemas.openxmlformats.org/officeDocument/2006/relationships/tags" Target="../tags/tag160.xml"/><Relationship Id="rId22" Type="http://schemas.openxmlformats.org/officeDocument/2006/relationships/tags" Target="../tags/tag161.xml"/><Relationship Id="rId23" Type="http://schemas.openxmlformats.org/officeDocument/2006/relationships/tags" Target="../tags/tag162.xml"/><Relationship Id="rId24" Type="http://schemas.openxmlformats.org/officeDocument/2006/relationships/tags" Target="../tags/tag163.xml"/><Relationship Id="rId25" Type="http://schemas.openxmlformats.org/officeDocument/2006/relationships/tags" Target="../tags/tag164.xml"/><Relationship Id="rId26" Type="http://schemas.openxmlformats.org/officeDocument/2006/relationships/tags" Target="../tags/tag165.xml"/><Relationship Id="rId27" Type="http://schemas.openxmlformats.org/officeDocument/2006/relationships/tags" Target="../tags/tag166.xml"/><Relationship Id="rId28" Type="http://schemas.openxmlformats.org/officeDocument/2006/relationships/tags" Target="../tags/tag167.xml"/><Relationship Id="rId29" Type="http://schemas.openxmlformats.org/officeDocument/2006/relationships/tags" Target="../tags/tag168.xml"/><Relationship Id="rId1" Type="http://schemas.openxmlformats.org/officeDocument/2006/relationships/vmlDrawing" Target="../drawings/vmlDrawing5.v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tags" Target="../tags/tag143.xml"/><Relationship Id="rId5" Type="http://schemas.openxmlformats.org/officeDocument/2006/relationships/tags" Target="../tags/tag144.xml"/><Relationship Id="rId30" Type="http://schemas.openxmlformats.org/officeDocument/2006/relationships/tags" Target="../tags/tag169.xml"/><Relationship Id="rId31" Type="http://schemas.openxmlformats.org/officeDocument/2006/relationships/tags" Target="../tags/tag170.xml"/><Relationship Id="rId32" Type="http://schemas.openxmlformats.org/officeDocument/2006/relationships/tags" Target="../tags/tag171.xml"/><Relationship Id="rId9" Type="http://schemas.openxmlformats.org/officeDocument/2006/relationships/tags" Target="../tags/tag148.xml"/><Relationship Id="rId6" Type="http://schemas.openxmlformats.org/officeDocument/2006/relationships/tags" Target="../tags/tag145.xml"/><Relationship Id="rId7" Type="http://schemas.openxmlformats.org/officeDocument/2006/relationships/tags" Target="../tags/tag146.xml"/><Relationship Id="rId8" Type="http://schemas.openxmlformats.org/officeDocument/2006/relationships/tags" Target="../tags/tag147.xml"/><Relationship Id="rId33" Type="http://schemas.openxmlformats.org/officeDocument/2006/relationships/tags" Target="../tags/tag172.xml"/><Relationship Id="rId34" Type="http://schemas.openxmlformats.org/officeDocument/2006/relationships/tags" Target="../tags/tag173.xml"/><Relationship Id="rId35" Type="http://schemas.openxmlformats.org/officeDocument/2006/relationships/tags" Target="../tags/tag174.xml"/><Relationship Id="rId36" Type="http://schemas.openxmlformats.org/officeDocument/2006/relationships/tags" Target="../tags/tag175.xml"/><Relationship Id="rId10" Type="http://schemas.openxmlformats.org/officeDocument/2006/relationships/tags" Target="../tags/tag149.xml"/><Relationship Id="rId11" Type="http://schemas.openxmlformats.org/officeDocument/2006/relationships/tags" Target="../tags/tag150.xml"/><Relationship Id="rId12" Type="http://schemas.openxmlformats.org/officeDocument/2006/relationships/tags" Target="../tags/tag151.xml"/><Relationship Id="rId13" Type="http://schemas.openxmlformats.org/officeDocument/2006/relationships/tags" Target="../tags/tag152.xml"/><Relationship Id="rId14" Type="http://schemas.openxmlformats.org/officeDocument/2006/relationships/tags" Target="../tags/tag153.xml"/><Relationship Id="rId15" Type="http://schemas.openxmlformats.org/officeDocument/2006/relationships/tags" Target="../tags/tag154.xml"/><Relationship Id="rId16" Type="http://schemas.openxmlformats.org/officeDocument/2006/relationships/tags" Target="../tags/tag155.xml"/><Relationship Id="rId17" Type="http://schemas.openxmlformats.org/officeDocument/2006/relationships/tags" Target="../tags/tag156.xml"/><Relationship Id="rId18" Type="http://schemas.openxmlformats.org/officeDocument/2006/relationships/tags" Target="../tags/tag157.xml"/><Relationship Id="rId19" Type="http://schemas.openxmlformats.org/officeDocument/2006/relationships/tags" Target="../tags/tag158.xml"/><Relationship Id="rId37" Type="http://schemas.openxmlformats.org/officeDocument/2006/relationships/slideLayout" Target="../slideLayouts/slideLayout16.xml"/><Relationship Id="rId38" Type="http://schemas.openxmlformats.org/officeDocument/2006/relationships/notesSlide" Target="../notesSlides/notesSlide3.xml"/><Relationship Id="rId39" Type="http://schemas.openxmlformats.org/officeDocument/2006/relationships/oleObject" Target="../embeddings/oleObject5.bin"/><Relationship Id="rId40" Type="http://schemas.openxmlformats.org/officeDocument/2006/relationships/image" Target="../media/image3.emf"/><Relationship Id="rId41" Type="http://schemas.openxmlformats.org/officeDocument/2006/relationships/image" Target="../media/image8.jpeg"/><Relationship Id="rId42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20" Type="http://schemas.openxmlformats.org/officeDocument/2006/relationships/tags" Target="../tags/tag194.xml"/><Relationship Id="rId21" Type="http://schemas.openxmlformats.org/officeDocument/2006/relationships/tags" Target="../tags/tag195.xml"/><Relationship Id="rId22" Type="http://schemas.openxmlformats.org/officeDocument/2006/relationships/tags" Target="../tags/tag196.xml"/><Relationship Id="rId23" Type="http://schemas.openxmlformats.org/officeDocument/2006/relationships/tags" Target="../tags/tag197.xml"/><Relationship Id="rId24" Type="http://schemas.openxmlformats.org/officeDocument/2006/relationships/tags" Target="../tags/tag198.xml"/><Relationship Id="rId25" Type="http://schemas.openxmlformats.org/officeDocument/2006/relationships/tags" Target="../tags/tag199.xml"/><Relationship Id="rId26" Type="http://schemas.openxmlformats.org/officeDocument/2006/relationships/tags" Target="../tags/tag200.xml"/><Relationship Id="rId27" Type="http://schemas.openxmlformats.org/officeDocument/2006/relationships/tags" Target="../tags/tag201.xml"/><Relationship Id="rId28" Type="http://schemas.openxmlformats.org/officeDocument/2006/relationships/tags" Target="../tags/tag202.xml"/><Relationship Id="rId29" Type="http://schemas.openxmlformats.org/officeDocument/2006/relationships/tags" Target="../tags/tag203.xml"/><Relationship Id="rId1" Type="http://schemas.openxmlformats.org/officeDocument/2006/relationships/vmlDrawing" Target="../drawings/vmlDrawing6.vml"/><Relationship Id="rId2" Type="http://schemas.openxmlformats.org/officeDocument/2006/relationships/tags" Target="../tags/tag176.xml"/><Relationship Id="rId3" Type="http://schemas.openxmlformats.org/officeDocument/2006/relationships/tags" Target="../tags/tag177.xml"/><Relationship Id="rId4" Type="http://schemas.openxmlformats.org/officeDocument/2006/relationships/tags" Target="../tags/tag178.xml"/><Relationship Id="rId5" Type="http://schemas.openxmlformats.org/officeDocument/2006/relationships/tags" Target="../tags/tag179.xml"/><Relationship Id="rId30" Type="http://schemas.openxmlformats.org/officeDocument/2006/relationships/tags" Target="../tags/tag204.xml"/><Relationship Id="rId31" Type="http://schemas.openxmlformats.org/officeDocument/2006/relationships/tags" Target="../tags/tag205.xml"/><Relationship Id="rId32" Type="http://schemas.openxmlformats.org/officeDocument/2006/relationships/tags" Target="../tags/tag206.xml"/><Relationship Id="rId9" Type="http://schemas.openxmlformats.org/officeDocument/2006/relationships/tags" Target="../tags/tag183.xml"/><Relationship Id="rId6" Type="http://schemas.openxmlformats.org/officeDocument/2006/relationships/tags" Target="../tags/tag180.xml"/><Relationship Id="rId7" Type="http://schemas.openxmlformats.org/officeDocument/2006/relationships/tags" Target="../tags/tag181.xml"/><Relationship Id="rId8" Type="http://schemas.openxmlformats.org/officeDocument/2006/relationships/tags" Target="../tags/tag182.xml"/><Relationship Id="rId33" Type="http://schemas.openxmlformats.org/officeDocument/2006/relationships/tags" Target="../tags/tag207.xml"/><Relationship Id="rId34" Type="http://schemas.openxmlformats.org/officeDocument/2006/relationships/tags" Target="../tags/tag208.xml"/><Relationship Id="rId35" Type="http://schemas.openxmlformats.org/officeDocument/2006/relationships/tags" Target="../tags/tag209.xml"/><Relationship Id="rId36" Type="http://schemas.openxmlformats.org/officeDocument/2006/relationships/tags" Target="../tags/tag210.xml"/><Relationship Id="rId10" Type="http://schemas.openxmlformats.org/officeDocument/2006/relationships/tags" Target="../tags/tag184.xml"/><Relationship Id="rId11" Type="http://schemas.openxmlformats.org/officeDocument/2006/relationships/tags" Target="../tags/tag185.xml"/><Relationship Id="rId12" Type="http://schemas.openxmlformats.org/officeDocument/2006/relationships/tags" Target="../tags/tag186.xml"/><Relationship Id="rId13" Type="http://schemas.openxmlformats.org/officeDocument/2006/relationships/tags" Target="../tags/tag187.xml"/><Relationship Id="rId14" Type="http://schemas.openxmlformats.org/officeDocument/2006/relationships/tags" Target="../tags/tag188.xml"/><Relationship Id="rId15" Type="http://schemas.openxmlformats.org/officeDocument/2006/relationships/tags" Target="../tags/tag189.xml"/><Relationship Id="rId16" Type="http://schemas.openxmlformats.org/officeDocument/2006/relationships/tags" Target="../tags/tag190.xml"/><Relationship Id="rId17" Type="http://schemas.openxmlformats.org/officeDocument/2006/relationships/tags" Target="../tags/tag191.xml"/><Relationship Id="rId18" Type="http://schemas.openxmlformats.org/officeDocument/2006/relationships/tags" Target="../tags/tag192.xml"/><Relationship Id="rId19" Type="http://schemas.openxmlformats.org/officeDocument/2006/relationships/tags" Target="../tags/tag193.xml"/><Relationship Id="rId37" Type="http://schemas.openxmlformats.org/officeDocument/2006/relationships/slideLayout" Target="../slideLayouts/slideLayout16.xml"/><Relationship Id="rId38" Type="http://schemas.openxmlformats.org/officeDocument/2006/relationships/oleObject" Target="../embeddings/oleObject6.bin"/><Relationship Id="rId39" Type="http://schemas.openxmlformats.org/officeDocument/2006/relationships/image" Target="../media/image3.emf"/><Relationship Id="rId40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20" Type="http://schemas.openxmlformats.org/officeDocument/2006/relationships/tags" Target="../tags/tag229.xml"/><Relationship Id="rId21" Type="http://schemas.openxmlformats.org/officeDocument/2006/relationships/tags" Target="../tags/tag230.xml"/><Relationship Id="rId22" Type="http://schemas.openxmlformats.org/officeDocument/2006/relationships/tags" Target="../tags/tag231.xml"/><Relationship Id="rId23" Type="http://schemas.openxmlformats.org/officeDocument/2006/relationships/tags" Target="../tags/tag232.xml"/><Relationship Id="rId24" Type="http://schemas.openxmlformats.org/officeDocument/2006/relationships/tags" Target="../tags/tag233.xml"/><Relationship Id="rId25" Type="http://schemas.openxmlformats.org/officeDocument/2006/relationships/tags" Target="../tags/tag234.xml"/><Relationship Id="rId26" Type="http://schemas.openxmlformats.org/officeDocument/2006/relationships/tags" Target="../tags/tag235.xml"/><Relationship Id="rId27" Type="http://schemas.openxmlformats.org/officeDocument/2006/relationships/tags" Target="../tags/tag236.xml"/><Relationship Id="rId28" Type="http://schemas.openxmlformats.org/officeDocument/2006/relationships/tags" Target="../tags/tag237.xml"/><Relationship Id="rId29" Type="http://schemas.openxmlformats.org/officeDocument/2006/relationships/tags" Target="../tags/tag238.xml"/><Relationship Id="rId1" Type="http://schemas.openxmlformats.org/officeDocument/2006/relationships/vmlDrawing" Target="../drawings/vmlDrawing7.vml"/><Relationship Id="rId2" Type="http://schemas.openxmlformats.org/officeDocument/2006/relationships/tags" Target="../tags/tag211.xml"/><Relationship Id="rId3" Type="http://schemas.openxmlformats.org/officeDocument/2006/relationships/tags" Target="../tags/tag212.xml"/><Relationship Id="rId4" Type="http://schemas.openxmlformats.org/officeDocument/2006/relationships/tags" Target="../tags/tag213.xml"/><Relationship Id="rId5" Type="http://schemas.openxmlformats.org/officeDocument/2006/relationships/tags" Target="../tags/tag214.xml"/><Relationship Id="rId30" Type="http://schemas.openxmlformats.org/officeDocument/2006/relationships/tags" Target="../tags/tag239.xml"/><Relationship Id="rId31" Type="http://schemas.openxmlformats.org/officeDocument/2006/relationships/tags" Target="../tags/tag240.xml"/><Relationship Id="rId32" Type="http://schemas.openxmlformats.org/officeDocument/2006/relationships/tags" Target="../tags/tag241.xml"/><Relationship Id="rId9" Type="http://schemas.openxmlformats.org/officeDocument/2006/relationships/tags" Target="../tags/tag218.xml"/><Relationship Id="rId6" Type="http://schemas.openxmlformats.org/officeDocument/2006/relationships/tags" Target="../tags/tag215.xml"/><Relationship Id="rId7" Type="http://schemas.openxmlformats.org/officeDocument/2006/relationships/tags" Target="../tags/tag216.xml"/><Relationship Id="rId8" Type="http://schemas.openxmlformats.org/officeDocument/2006/relationships/tags" Target="../tags/tag217.xml"/><Relationship Id="rId33" Type="http://schemas.openxmlformats.org/officeDocument/2006/relationships/tags" Target="../tags/tag242.xml"/><Relationship Id="rId34" Type="http://schemas.openxmlformats.org/officeDocument/2006/relationships/tags" Target="../tags/tag243.xml"/><Relationship Id="rId35" Type="http://schemas.openxmlformats.org/officeDocument/2006/relationships/tags" Target="../tags/tag244.xml"/><Relationship Id="rId36" Type="http://schemas.openxmlformats.org/officeDocument/2006/relationships/tags" Target="../tags/tag245.xml"/><Relationship Id="rId10" Type="http://schemas.openxmlformats.org/officeDocument/2006/relationships/tags" Target="../tags/tag219.xml"/><Relationship Id="rId11" Type="http://schemas.openxmlformats.org/officeDocument/2006/relationships/tags" Target="../tags/tag220.xml"/><Relationship Id="rId12" Type="http://schemas.openxmlformats.org/officeDocument/2006/relationships/tags" Target="../tags/tag221.xml"/><Relationship Id="rId13" Type="http://schemas.openxmlformats.org/officeDocument/2006/relationships/tags" Target="../tags/tag222.xml"/><Relationship Id="rId14" Type="http://schemas.openxmlformats.org/officeDocument/2006/relationships/tags" Target="../tags/tag223.xml"/><Relationship Id="rId15" Type="http://schemas.openxmlformats.org/officeDocument/2006/relationships/tags" Target="../tags/tag224.xml"/><Relationship Id="rId16" Type="http://schemas.openxmlformats.org/officeDocument/2006/relationships/tags" Target="../tags/tag225.xml"/><Relationship Id="rId17" Type="http://schemas.openxmlformats.org/officeDocument/2006/relationships/tags" Target="../tags/tag226.xml"/><Relationship Id="rId18" Type="http://schemas.openxmlformats.org/officeDocument/2006/relationships/tags" Target="../tags/tag227.xml"/><Relationship Id="rId19" Type="http://schemas.openxmlformats.org/officeDocument/2006/relationships/tags" Target="../tags/tag228.xml"/><Relationship Id="rId37" Type="http://schemas.openxmlformats.org/officeDocument/2006/relationships/slideLayout" Target="../slideLayouts/slideLayout16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3.emf"/><Relationship Id="rId40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0" Type="http://schemas.openxmlformats.org/officeDocument/2006/relationships/tags" Target="../tags/tag264.xml"/><Relationship Id="rId21" Type="http://schemas.openxmlformats.org/officeDocument/2006/relationships/tags" Target="../tags/tag265.xml"/><Relationship Id="rId22" Type="http://schemas.openxmlformats.org/officeDocument/2006/relationships/tags" Target="../tags/tag266.xml"/><Relationship Id="rId23" Type="http://schemas.openxmlformats.org/officeDocument/2006/relationships/tags" Target="../tags/tag267.xml"/><Relationship Id="rId24" Type="http://schemas.openxmlformats.org/officeDocument/2006/relationships/tags" Target="../tags/tag268.xml"/><Relationship Id="rId25" Type="http://schemas.openxmlformats.org/officeDocument/2006/relationships/tags" Target="../tags/tag269.xml"/><Relationship Id="rId26" Type="http://schemas.openxmlformats.org/officeDocument/2006/relationships/tags" Target="../tags/tag270.xml"/><Relationship Id="rId27" Type="http://schemas.openxmlformats.org/officeDocument/2006/relationships/tags" Target="../tags/tag271.xml"/><Relationship Id="rId28" Type="http://schemas.openxmlformats.org/officeDocument/2006/relationships/tags" Target="../tags/tag272.xml"/><Relationship Id="rId29" Type="http://schemas.openxmlformats.org/officeDocument/2006/relationships/tags" Target="../tags/tag273.xml"/><Relationship Id="rId1" Type="http://schemas.openxmlformats.org/officeDocument/2006/relationships/vmlDrawing" Target="../drawings/vmlDrawing8.vml"/><Relationship Id="rId2" Type="http://schemas.openxmlformats.org/officeDocument/2006/relationships/tags" Target="../tags/tag246.xml"/><Relationship Id="rId3" Type="http://schemas.openxmlformats.org/officeDocument/2006/relationships/tags" Target="../tags/tag247.xml"/><Relationship Id="rId4" Type="http://schemas.openxmlformats.org/officeDocument/2006/relationships/tags" Target="../tags/tag248.xml"/><Relationship Id="rId5" Type="http://schemas.openxmlformats.org/officeDocument/2006/relationships/tags" Target="../tags/tag249.xml"/><Relationship Id="rId30" Type="http://schemas.openxmlformats.org/officeDocument/2006/relationships/tags" Target="../tags/tag274.xml"/><Relationship Id="rId31" Type="http://schemas.openxmlformats.org/officeDocument/2006/relationships/tags" Target="../tags/tag275.xml"/><Relationship Id="rId32" Type="http://schemas.openxmlformats.org/officeDocument/2006/relationships/tags" Target="../tags/tag276.xml"/><Relationship Id="rId9" Type="http://schemas.openxmlformats.org/officeDocument/2006/relationships/tags" Target="../tags/tag253.xml"/><Relationship Id="rId6" Type="http://schemas.openxmlformats.org/officeDocument/2006/relationships/tags" Target="../tags/tag250.xml"/><Relationship Id="rId7" Type="http://schemas.openxmlformats.org/officeDocument/2006/relationships/tags" Target="../tags/tag251.xml"/><Relationship Id="rId8" Type="http://schemas.openxmlformats.org/officeDocument/2006/relationships/tags" Target="../tags/tag252.xml"/><Relationship Id="rId33" Type="http://schemas.openxmlformats.org/officeDocument/2006/relationships/tags" Target="../tags/tag277.xml"/><Relationship Id="rId34" Type="http://schemas.openxmlformats.org/officeDocument/2006/relationships/tags" Target="../tags/tag278.xml"/><Relationship Id="rId35" Type="http://schemas.openxmlformats.org/officeDocument/2006/relationships/tags" Target="../tags/tag279.xml"/><Relationship Id="rId36" Type="http://schemas.openxmlformats.org/officeDocument/2006/relationships/tags" Target="../tags/tag280.xml"/><Relationship Id="rId10" Type="http://schemas.openxmlformats.org/officeDocument/2006/relationships/tags" Target="../tags/tag254.xml"/><Relationship Id="rId11" Type="http://schemas.openxmlformats.org/officeDocument/2006/relationships/tags" Target="../tags/tag255.xml"/><Relationship Id="rId12" Type="http://schemas.openxmlformats.org/officeDocument/2006/relationships/tags" Target="../tags/tag256.xml"/><Relationship Id="rId13" Type="http://schemas.openxmlformats.org/officeDocument/2006/relationships/tags" Target="../tags/tag257.xml"/><Relationship Id="rId14" Type="http://schemas.openxmlformats.org/officeDocument/2006/relationships/tags" Target="../tags/tag258.xml"/><Relationship Id="rId15" Type="http://schemas.openxmlformats.org/officeDocument/2006/relationships/tags" Target="../tags/tag259.xml"/><Relationship Id="rId16" Type="http://schemas.openxmlformats.org/officeDocument/2006/relationships/tags" Target="../tags/tag260.xml"/><Relationship Id="rId17" Type="http://schemas.openxmlformats.org/officeDocument/2006/relationships/tags" Target="../tags/tag261.xml"/><Relationship Id="rId18" Type="http://schemas.openxmlformats.org/officeDocument/2006/relationships/tags" Target="../tags/tag262.xml"/><Relationship Id="rId19" Type="http://schemas.openxmlformats.org/officeDocument/2006/relationships/tags" Target="../tags/tag263.xml"/><Relationship Id="rId37" Type="http://schemas.openxmlformats.org/officeDocument/2006/relationships/slideLayout" Target="../slideLayouts/slideLayout16.xml"/><Relationship Id="rId38" Type="http://schemas.openxmlformats.org/officeDocument/2006/relationships/notesSlide" Target="../notesSlides/notesSlide4.xml"/><Relationship Id="rId39" Type="http://schemas.openxmlformats.org/officeDocument/2006/relationships/oleObject" Target="../embeddings/oleObject8.bin"/><Relationship Id="rId40" Type="http://schemas.openxmlformats.org/officeDocument/2006/relationships/image" Target="../media/image3.emf"/><Relationship Id="rId41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9" Type="http://schemas.openxmlformats.org/officeDocument/2006/relationships/tags" Target="../tags/tag8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37" Type="http://schemas.openxmlformats.org/officeDocument/2006/relationships/slideLayout" Target="../slideLayouts/slideLayout16.xml"/><Relationship Id="rId38" Type="http://schemas.openxmlformats.org/officeDocument/2006/relationships/oleObject" Target="../embeddings/oleObject1.bin"/><Relationship Id="rId39" Type="http://schemas.openxmlformats.org/officeDocument/2006/relationships/image" Target="../media/image3.emf"/><Relationship Id="rId40" Type="http://schemas.openxmlformats.org/officeDocument/2006/relationships/image" Target="../media/image4.jpeg"/><Relationship Id="rId41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20" Type="http://schemas.openxmlformats.org/officeDocument/2006/relationships/tags" Target="../tags/tag54.xml"/><Relationship Id="rId21" Type="http://schemas.openxmlformats.org/officeDocument/2006/relationships/tags" Target="../tags/tag55.xml"/><Relationship Id="rId22" Type="http://schemas.openxmlformats.org/officeDocument/2006/relationships/tags" Target="../tags/tag56.xml"/><Relationship Id="rId23" Type="http://schemas.openxmlformats.org/officeDocument/2006/relationships/tags" Target="../tags/tag57.xml"/><Relationship Id="rId24" Type="http://schemas.openxmlformats.org/officeDocument/2006/relationships/tags" Target="../tags/tag58.xml"/><Relationship Id="rId25" Type="http://schemas.openxmlformats.org/officeDocument/2006/relationships/tags" Target="../tags/tag59.xml"/><Relationship Id="rId26" Type="http://schemas.openxmlformats.org/officeDocument/2006/relationships/tags" Target="../tags/tag60.xml"/><Relationship Id="rId27" Type="http://schemas.openxmlformats.org/officeDocument/2006/relationships/tags" Target="../tags/tag61.xml"/><Relationship Id="rId28" Type="http://schemas.openxmlformats.org/officeDocument/2006/relationships/tags" Target="../tags/tag62.xml"/><Relationship Id="rId29" Type="http://schemas.openxmlformats.org/officeDocument/2006/relationships/tags" Target="../tags/tag63.xml"/><Relationship Id="rId1" Type="http://schemas.openxmlformats.org/officeDocument/2006/relationships/vmlDrawing" Target="../drawings/vmlDrawing2.v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tags" Target="../tags/tag38.xml"/><Relationship Id="rId5" Type="http://schemas.openxmlformats.org/officeDocument/2006/relationships/tags" Target="../tags/tag39.xml"/><Relationship Id="rId30" Type="http://schemas.openxmlformats.org/officeDocument/2006/relationships/tags" Target="../tags/tag64.xml"/><Relationship Id="rId31" Type="http://schemas.openxmlformats.org/officeDocument/2006/relationships/tags" Target="../tags/tag65.xml"/><Relationship Id="rId32" Type="http://schemas.openxmlformats.org/officeDocument/2006/relationships/tags" Target="../tags/tag66.xml"/><Relationship Id="rId9" Type="http://schemas.openxmlformats.org/officeDocument/2006/relationships/tags" Target="../tags/tag43.xml"/><Relationship Id="rId6" Type="http://schemas.openxmlformats.org/officeDocument/2006/relationships/tags" Target="../tags/tag40.xml"/><Relationship Id="rId7" Type="http://schemas.openxmlformats.org/officeDocument/2006/relationships/tags" Target="../tags/tag41.xml"/><Relationship Id="rId8" Type="http://schemas.openxmlformats.org/officeDocument/2006/relationships/tags" Target="../tags/tag42.xml"/><Relationship Id="rId33" Type="http://schemas.openxmlformats.org/officeDocument/2006/relationships/tags" Target="../tags/tag67.xml"/><Relationship Id="rId34" Type="http://schemas.openxmlformats.org/officeDocument/2006/relationships/tags" Target="../tags/tag68.xml"/><Relationship Id="rId35" Type="http://schemas.openxmlformats.org/officeDocument/2006/relationships/tags" Target="../tags/tag69.xml"/><Relationship Id="rId36" Type="http://schemas.openxmlformats.org/officeDocument/2006/relationships/tags" Target="../tags/tag70.xml"/><Relationship Id="rId10" Type="http://schemas.openxmlformats.org/officeDocument/2006/relationships/tags" Target="../tags/tag44.xml"/><Relationship Id="rId11" Type="http://schemas.openxmlformats.org/officeDocument/2006/relationships/tags" Target="../tags/tag45.xml"/><Relationship Id="rId12" Type="http://schemas.openxmlformats.org/officeDocument/2006/relationships/tags" Target="../tags/tag46.xml"/><Relationship Id="rId13" Type="http://schemas.openxmlformats.org/officeDocument/2006/relationships/tags" Target="../tags/tag47.xml"/><Relationship Id="rId14" Type="http://schemas.openxmlformats.org/officeDocument/2006/relationships/tags" Target="../tags/tag48.xml"/><Relationship Id="rId15" Type="http://schemas.openxmlformats.org/officeDocument/2006/relationships/tags" Target="../tags/tag49.xml"/><Relationship Id="rId16" Type="http://schemas.openxmlformats.org/officeDocument/2006/relationships/tags" Target="../tags/tag50.xml"/><Relationship Id="rId17" Type="http://schemas.openxmlformats.org/officeDocument/2006/relationships/tags" Target="../tags/tag51.xml"/><Relationship Id="rId18" Type="http://schemas.openxmlformats.org/officeDocument/2006/relationships/tags" Target="../tags/tag52.xml"/><Relationship Id="rId19" Type="http://schemas.openxmlformats.org/officeDocument/2006/relationships/tags" Target="../tags/tag53.xml"/><Relationship Id="rId37" Type="http://schemas.openxmlformats.org/officeDocument/2006/relationships/slideLayout" Target="../slideLayouts/slideLayout16.xml"/><Relationship Id="rId38" Type="http://schemas.openxmlformats.org/officeDocument/2006/relationships/oleObject" Target="../embeddings/oleObject2.bin"/><Relationship Id="rId39" Type="http://schemas.openxmlformats.org/officeDocument/2006/relationships/image" Target="../media/image3.emf"/><Relationship Id="rId40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0" Type="http://schemas.openxmlformats.org/officeDocument/2006/relationships/tags" Target="../tags/tag89.xml"/><Relationship Id="rId21" Type="http://schemas.openxmlformats.org/officeDocument/2006/relationships/tags" Target="../tags/tag90.xml"/><Relationship Id="rId22" Type="http://schemas.openxmlformats.org/officeDocument/2006/relationships/tags" Target="../tags/tag91.xml"/><Relationship Id="rId23" Type="http://schemas.openxmlformats.org/officeDocument/2006/relationships/tags" Target="../tags/tag92.xml"/><Relationship Id="rId24" Type="http://schemas.openxmlformats.org/officeDocument/2006/relationships/tags" Target="../tags/tag93.xml"/><Relationship Id="rId25" Type="http://schemas.openxmlformats.org/officeDocument/2006/relationships/tags" Target="../tags/tag94.xml"/><Relationship Id="rId26" Type="http://schemas.openxmlformats.org/officeDocument/2006/relationships/tags" Target="../tags/tag95.xml"/><Relationship Id="rId27" Type="http://schemas.openxmlformats.org/officeDocument/2006/relationships/tags" Target="../tags/tag96.xml"/><Relationship Id="rId28" Type="http://schemas.openxmlformats.org/officeDocument/2006/relationships/tags" Target="../tags/tag97.xml"/><Relationship Id="rId29" Type="http://schemas.openxmlformats.org/officeDocument/2006/relationships/tags" Target="../tags/tag98.xml"/><Relationship Id="rId1" Type="http://schemas.openxmlformats.org/officeDocument/2006/relationships/vmlDrawing" Target="../drawings/vmlDrawing3.vml"/><Relationship Id="rId2" Type="http://schemas.openxmlformats.org/officeDocument/2006/relationships/tags" Target="../tags/tag71.xml"/><Relationship Id="rId3" Type="http://schemas.openxmlformats.org/officeDocument/2006/relationships/tags" Target="../tags/tag72.xml"/><Relationship Id="rId4" Type="http://schemas.openxmlformats.org/officeDocument/2006/relationships/tags" Target="../tags/tag73.xml"/><Relationship Id="rId5" Type="http://schemas.openxmlformats.org/officeDocument/2006/relationships/tags" Target="../tags/tag74.xml"/><Relationship Id="rId30" Type="http://schemas.openxmlformats.org/officeDocument/2006/relationships/tags" Target="../tags/tag99.xml"/><Relationship Id="rId31" Type="http://schemas.openxmlformats.org/officeDocument/2006/relationships/tags" Target="../tags/tag100.xml"/><Relationship Id="rId32" Type="http://schemas.openxmlformats.org/officeDocument/2006/relationships/tags" Target="../tags/tag101.xml"/><Relationship Id="rId9" Type="http://schemas.openxmlformats.org/officeDocument/2006/relationships/tags" Target="../tags/tag78.xml"/><Relationship Id="rId6" Type="http://schemas.openxmlformats.org/officeDocument/2006/relationships/tags" Target="../tags/tag75.xml"/><Relationship Id="rId7" Type="http://schemas.openxmlformats.org/officeDocument/2006/relationships/tags" Target="../tags/tag76.xml"/><Relationship Id="rId8" Type="http://schemas.openxmlformats.org/officeDocument/2006/relationships/tags" Target="../tags/tag77.xml"/><Relationship Id="rId33" Type="http://schemas.openxmlformats.org/officeDocument/2006/relationships/tags" Target="../tags/tag102.xml"/><Relationship Id="rId34" Type="http://schemas.openxmlformats.org/officeDocument/2006/relationships/tags" Target="../tags/tag103.xml"/><Relationship Id="rId35" Type="http://schemas.openxmlformats.org/officeDocument/2006/relationships/tags" Target="../tags/tag104.xml"/><Relationship Id="rId36" Type="http://schemas.openxmlformats.org/officeDocument/2006/relationships/tags" Target="../tags/tag105.xml"/><Relationship Id="rId10" Type="http://schemas.openxmlformats.org/officeDocument/2006/relationships/tags" Target="../tags/tag79.xml"/><Relationship Id="rId11" Type="http://schemas.openxmlformats.org/officeDocument/2006/relationships/tags" Target="../tags/tag80.xml"/><Relationship Id="rId12" Type="http://schemas.openxmlformats.org/officeDocument/2006/relationships/tags" Target="../tags/tag81.xml"/><Relationship Id="rId13" Type="http://schemas.openxmlformats.org/officeDocument/2006/relationships/tags" Target="../tags/tag82.xml"/><Relationship Id="rId14" Type="http://schemas.openxmlformats.org/officeDocument/2006/relationships/tags" Target="../tags/tag83.xml"/><Relationship Id="rId15" Type="http://schemas.openxmlformats.org/officeDocument/2006/relationships/tags" Target="../tags/tag84.xml"/><Relationship Id="rId16" Type="http://schemas.openxmlformats.org/officeDocument/2006/relationships/tags" Target="../tags/tag85.xml"/><Relationship Id="rId17" Type="http://schemas.openxmlformats.org/officeDocument/2006/relationships/tags" Target="../tags/tag86.xml"/><Relationship Id="rId18" Type="http://schemas.openxmlformats.org/officeDocument/2006/relationships/tags" Target="../tags/tag87.xml"/><Relationship Id="rId19" Type="http://schemas.openxmlformats.org/officeDocument/2006/relationships/tags" Target="../tags/tag88.xml"/><Relationship Id="rId37" Type="http://schemas.openxmlformats.org/officeDocument/2006/relationships/slideLayout" Target="../slideLayouts/slideLayout16.xml"/><Relationship Id="rId38" Type="http://schemas.openxmlformats.org/officeDocument/2006/relationships/notesSlide" Target="../notesSlides/notesSlide2.xml"/><Relationship Id="rId39" Type="http://schemas.openxmlformats.org/officeDocument/2006/relationships/oleObject" Target="../embeddings/oleObject3.bin"/><Relationship Id="rId40" Type="http://schemas.openxmlformats.org/officeDocument/2006/relationships/image" Target="../media/image3.emf"/><Relationship Id="rId41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620214" y="1981200"/>
            <a:ext cx="10647003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50" b="1">
                <a:solidFill>
                  <a:srgbClr val="4D4D4F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D4D4F"/>
                </a:solidFill>
                <a:latin typeface="Arial" charset="0"/>
                <a:ea typeface="ＭＳ Ｐゴシック" pitchFamily="80" charset="-128"/>
              </a:defRPr>
            </a:lvl9pPr>
          </a:lstStyle>
          <a:p>
            <a:pPr algn="just"/>
            <a:r>
              <a:rPr lang="en-US" sz="3200" dirty="0" smtClean="0">
                <a:cs typeface="Arial" pitchFamily="34" charset="0"/>
              </a:rPr>
              <a:t>"</a:t>
            </a:r>
            <a:r>
              <a:rPr lang="en-IN" sz="3200" dirty="0"/>
              <a:t>e-Governance initiatives </a:t>
            </a:r>
            <a:r>
              <a:rPr lang="en-IN" sz="3200" dirty="0" smtClean="0"/>
              <a:t>and </a:t>
            </a:r>
            <a:r>
              <a:rPr lang="en-IN" sz="3200" dirty="0"/>
              <a:t>r</a:t>
            </a:r>
            <a:r>
              <a:rPr lang="en-IN" sz="3200" dirty="0" smtClean="0"/>
              <a:t>ole of </a:t>
            </a:r>
            <a:r>
              <a:rPr lang="en-IN" sz="3200" dirty="0"/>
              <a:t>P</a:t>
            </a:r>
            <a:r>
              <a:rPr lang="en-IN" sz="3200" dirty="0" smtClean="0"/>
              <a:t>rivate Sector </a:t>
            </a:r>
            <a:r>
              <a:rPr lang="en-US" sz="3200" dirty="0" smtClean="0">
                <a:cs typeface="Arial" pitchFamily="34" charset="0"/>
              </a:rPr>
              <a:t>" </a:t>
            </a:r>
            <a:r>
              <a:rPr lang="en-US" sz="3200" dirty="0">
                <a:cs typeface="Arial" pitchFamily="34" charset="0"/>
              </a:rPr>
              <a:t>	</a:t>
            </a:r>
            <a:r>
              <a:rPr lang="en-US" b="0" kern="0" dirty="0" smtClean="0"/>
              <a:t/>
            </a:r>
            <a:br>
              <a:rPr lang="en-US" b="0" kern="0" dirty="0" smtClean="0"/>
            </a:br>
            <a:endParaRPr lang="en-US" kern="0" dirty="0"/>
          </a:p>
        </p:txBody>
      </p:sp>
      <p:sp>
        <p:nvSpPr>
          <p:cNvPr id="2" name="Rectangle 1"/>
          <p:cNvSpPr/>
          <p:nvPr/>
        </p:nvSpPr>
        <p:spPr>
          <a:xfrm>
            <a:off x="5263049" y="4621379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/>
              <a:t>BVR Mohan Reddy</a:t>
            </a:r>
          </a:p>
          <a:p>
            <a:pPr algn="r"/>
            <a:r>
              <a:rPr lang="en-US" dirty="0"/>
              <a:t>Chairman, </a:t>
            </a:r>
            <a:r>
              <a:rPr lang="en-US" b="1" dirty="0"/>
              <a:t>NASSCOM</a:t>
            </a:r>
            <a:endParaRPr lang="en-US" dirty="0"/>
          </a:p>
          <a:p>
            <a:pPr algn="r"/>
            <a:r>
              <a:rPr lang="en-US" dirty="0" smtClean="0"/>
              <a:t>Executive</a:t>
            </a:r>
            <a:r>
              <a:rPr lang="en-US" dirty="0"/>
              <a:t> Chairman,</a:t>
            </a:r>
            <a:r>
              <a:rPr lang="en-US" b="1" dirty="0"/>
              <a:t> </a:t>
            </a:r>
            <a:r>
              <a:rPr lang="en-US" b="1" dirty="0" smtClean="0"/>
              <a:t>Cyient</a:t>
            </a:r>
          </a:p>
          <a:p>
            <a:pPr algn="r"/>
            <a:endParaRPr lang="en-US" b="1" dirty="0"/>
          </a:p>
          <a:p>
            <a:pPr algn="r"/>
            <a:r>
              <a:rPr lang="en-US" b="1" dirty="0" smtClean="0"/>
              <a:t>23</a:t>
            </a:r>
            <a:r>
              <a:rPr lang="en-US" b="1" baseline="30000" dirty="0" smtClean="0"/>
              <a:t>rd</a:t>
            </a:r>
            <a:r>
              <a:rPr lang="en-US" b="1" dirty="0" smtClean="0"/>
              <a:t> Dec 2015, Delh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287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7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467" y="265238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ounded Rectangle 14"/>
          <p:cNvSpPr/>
          <p:nvPr/>
        </p:nvSpPr>
        <p:spPr>
          <a:xfrm>
            <a:off x="2044561" y="5549510"/>
            <a:ext cx="8202519" cy="790973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DCC05A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424" name="Group 423"/>
          <p:cNvGrpSpPr/>
          <p:nvPr/>
        </p:nvGrpSpPr>
        <p:grpSpPr>
          <a:xfrm>
            <a:off x="9044676" y="1423316"/>
            <a:ext cx="510856" cy="586568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" name="Rounded Rectangle 3"/>
          <p:cNvSpPr/>
          <p:nvPr/>
        </p:nvSpPr>
        <p:spPr>
          <a:xfrm>
            <a:off x="1986812" y="2194114"/>
            <a:ext cx="2459077" cy="3178072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51642" y="2292267"/>
            <a:ext cx="2308237" cy="400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2024845" y="2725616"/>
            <a:ext cx="2384726" cy="24044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Provide a 'one-stop-shop’ solution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292" dirty="0">
                <a:solidFill>
                  <a:srgbClr val="000000"/>
                </a:solidFill>
                <a:cs typeface="Arial" pitchFamily="34" charset="0"/>
              </a:rPr>
              <a:t>Online processing and delivery of citizen's requests for services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292" dirty="0">
                <a:solidFill>
                  <a:srgbClr val="000000"/>
                </a:solidFill>
                <a:cs typeface="Arial" pitchFamily="34" charset="0"/>
              </a:rPr>
              <a:t>Transition from ‘Citizen In-Line’ to ‘Citizen On-Line’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292" dirty="0">
                <a:solidFill>
                  <a:srgbClr val="000000"/>
                </a:solidFill>
                <a:cs typeface="Arial" pitchFamily="34" charset="0"/>
              </a:rPr>
              <a:t>Make interactions of G2C, G2B, G2G more friendly, convenient, transparent and inexpensive</a:t>
            </a:r>
            <a:endParaRPr lang="en-US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667569" y="2194114"/>
            <a:ext cx="2899812" cy="3178072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73976" y="2269687"/>
            <a:ext cx="2308237" cy="400962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83077" rIns="9969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733398" y="2194115"/>
            <a:ext cx="2459077" cy="3178073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09432" y="2292267"/>
            <a:ext cx="2308237" cy="400962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Impact</a:t>
            </a: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3187791" y="5542010"/>
            <a:ext cx="7140750" cy="853441"/>
          </a:xfrm>
          <a:prstGeom prst="rect">
            <a:avLst/>
          </a:prstGeom>
          <a:noFill/>
          <a:ln w="1587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84406"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92" i="1" dirty="0">
                <a:solidFill>
                  <a:srgbClr val="000000"/>
                </a:solidFill>
              </a:rPr>
              <a:t>“ We appreciate MPOnline team’s efforts with regard to collection of preferences and allotment of Candidates selected...Service has been prompt, accurate and of good quality.</a:t>
            </a:r>
          </a:p>
          <a:p>
            <a:pPr>
              <a:lnSpc>
                <a:spcPct val="90000"/>
              </a:lnSpc>
            </a:pPr>
            <a:r>
              <a:rPr lang="en-US" sz="1292" b="1" i="1" dirty="0">
                <a:solidFill>
                  <a:srgbClr val="000000"/>
                </a:solidFill>
              </a:rPr>
              <a:t>				</a:t>
            </a:r>
            <a:r>
              <a:rPr lang="en-US" sz="1292" b="1" dirty="0">
                <a:solidFill>
                  <a:srgbClr val="000000"/>
                </a:solidFill>
              </a:rPr>
              <a:t>- Adl. DGP (Selection &amp; Recruitment)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948965" y="1405069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827859" y="1405069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706754" y="1405069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827856" y="1405069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00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706750" y="1405069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948960" y="1405069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807740" y="1537241"/>
            <a:ext cx="926132" cy="3077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948963" y="1398373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99692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cs typeface="Arial" pitchFamily="34" charset="0"/>
              </a:rPr>
              <a:t>Government of Madhya Pradesh</a:t>
            </a:r>
            <a:endParaRPr lang="en-US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827858" y="1398373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cs typeface="Arial" pitchFamily="34" charset="0"/>
              </a:rPr>
              <a:t>Government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706752" y="1398373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951643" y="5487040"/>
            <a:ext cx="1260483" cy="280714"/>
          </a:xfrm>
          <a:prstGeom prst="rect">
            <a:avLst/>
          </a:prstGeom>
          <a:solidFill>
            <a:srgbClr val="B48900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83077" tIns="0" rIns="0" bIns="0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Testimonial</a:t>
            </a:r>
          </a:p>
        </p:txBody>
      </p:sp>
      <p:sp>
        <p:nvSpPr>
          <p:cNvPr id="463" name="Rectangle 462"/>
          <p:cNvSpPr/>
          <p:nvPr/>
        </p:nvSpPr>
        <p:spPr>
          <a:xfrm>
            <a:off x="4716118" y="2725616"/>
            <a:ext cx="2759280" cy="24044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buClr>
                <a:srgbClr val="FFFFFF"/>
              </a:buClr>
              <a:buSzPct val="100000"/>
              <a:buFont typeface=""/>
              <a:buNone/>
            </a:pPr>
            <a:r>
              <a:rPr lang="en-US" sz="1292" b="1" dirty="0">
                <a:solidFill>
                  <a:srgbClr val="000000"/>
                </a:solidFill>
              </a:rPr>
              <a:t>MPOnline: JV firm between GoMP and TCS to facilitate enablement and delivery of citizen centric services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290" dirty="0">
                <a:solidFill>
                  <a:srgbClr val="000000"/>
                </a:solidFill>
                <a:cs typeface="Arial" pitchFamily="34" charset="0"/>
              </a:rPr>
              <a:t>Comprehensive web-enabled portal as electronic gateway for entire portfolio of services by various government departments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290" dirty="0">
                <a:solidFill>
                  <a:srgbClr val="000000"/>
                </a:solidFill>
                <a:cs typeface="Arial" pitchFamily="34" charset="0"/>
              </a:rPr>
              <a:t>&gt;450 services across 50+  departments and universities</a:t>
            </a:r>
          </a:p>
          <a:p>
            <a:pPr marL="164127" lvl="1" indent="-164127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290" dirty="0">
                <a:solidFill>
                  <a:srgbClr val="000000"/>
                </a:solidFill>
                <a:cs typeface="Arial" pitchFamily="34" charset="0"/>
              </a:rPr>
              <a:t>Designed on a service oriented approach through a PPP model</a:t>
            </a:r>
          </a:p>
        </p:txBody>
      </p:sp>
      <p:pic>
        <p:nvPicPr>
          <p:cNvPr id="474" name="Picture 5" descr="File:TCS Logo.svg"/>
          <p:cNvPicPr>
            <a:picLocks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0944906" y="957581"/>
            <a:ext cx="1163077" cy="546647"/>
          </a:xfrm>
          <a:prstGeom prst="rect">
            <a:avLst/>
          </a:prstGeom>
          <a:noFill/>
        </p:spPr>
      </p:pic>
      <p:sp>
        <p:nvSpPr>
          <p:cNvPr id="74" name="Title 4"/>
          <p:cNvSpPr>
            <a:spLocks noGrp="1"/>
          </p:cNvSpPr>
          <p:nvPr>
            <p:ph type="title"/>
          </p:nvPr>
        </p:nvSpPr>
        <p:spPr>
          <a:xfrm>
            <a:off x="-12839" y="493870"/>
            <a:ext cx="8301046" cy="694523"/>
          </a:xfrm>
        </p:spPr>
        <p:txBody>
          <a:bodyPr/>
          <a:lstStyle/>
          <a:p>
            <a:r>
              <a:rPr lang="en-GB" dirty="0" smtClean="0"/>
              <a:t>E-enablement and seamless delivery of citizen centric services online</a:t>
            </a:r>
            <a:endParaRPr lang="en-US" dirty="0"/>
          </a:p>
        </p:txBody>
      </p:sp>
      <p:sp>
        <p:nvSpPr>
          <p:cNvPr id="88" name="TextColumnContent"/>
          <p:cNvSpPr>
            <a:spLocks noChangeArrowheads="1"/>
          </p:cNvSpPr>
          <p:nvPr/>
        </p:nvSpPr>
        <p:spPr bwMode="gray">
          <a:xfrm>
            <a:off x="8230754" y="2743200"/>
            <a:ext cx="1793631" cy="61018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49846" tIns="49846" rIns="16615" bIns="33231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IN" sz="1200" b="1" dirty="0">
                <a:solidFill>
                  <a:srgbClr val="000000"/>
                </a:solidFill>
              </a:rPr>
              <a:t>Over 7,000+ kiosks, 8,000+ CSCs in 51 district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89" name="TextColumnContent"/>
          <p:cNvSpPr>
            <a:spLocks noChangeArrowheads="1"/>
          </p:cNvSpPr>
          <p:nvPr/>
        </p:nvSpPr>
        <p:spPr bwMode="gray">
          <a:xfrm>
            <a:off x="8214524" y="3371138"/>
            <a:ext cx="2031516" cy="43475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49846" tIns="49846" rIns="16615" bIns="33231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IN" sz="1200" b="1" dirty="0">
                <a:solidFill>
                  <a:srgbClr val="000000"/>
                </a:solidFill>
              </a:rPr>
              <a:t>Employment to &gt;25,000 citizen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90" name="TextColumnContent"/>
          <p:cNvSpPr>
            <a:spLocks noChangeArrowheads="1"/>
          </p:cNvSpPr>
          <p:nvPr/>
        </p:nvSpPr>
        <p:spPr bwMode="gray">
          <a:xfrm>
            <a:off x="8144991" y="3886201"/>
            <a:ext cx="2053154" cy="10995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49846" tIns="49846" rIns="16615" bIns="33231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7925" indent="-879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000000"/>
                </a:solidFill>
              </a:rPr>
              <a:t>&gt;50 mn transactions; increase in revenue of 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IN" sz="1200" dirty="0">
                <a:solidFill>
                  <a:srgbClr val="000000"/>
                </a:solidFill>
                <a:cs typeface="Arial" pitchFamily="34" charset="0"/>
              </a:rPr>
              <a:t>US$ 405 million in  departmental fees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IN" sz="1200" dirty="0">
                <a:solidFill>
                  <a:srgbClr val="000000"/>
                </a:solidFill>
                <a:cs typeface="Arial" pitchFamily="34" charset="0"/>
              </a:rPr>
              <a:t>US$ 10 million as commission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7" name="Freeform 248"/>
          <p:cNvSpPr>
            <a:spLocks noChangeAspect="1" noEditPoints="1"/>
          </p:cNvSpPr>
          <p:nvPr/>
        </p:nvSpPr>
        <p:spPr bwMode="auto">
          <a:xfrm>
            <a:off x="7843968" y="3147000"/>
            <a:ext cx="296285" cy="298743"/>
          </a:xfrm>
          <a:custGeom>
            <a:avLst/>
            <a:gdLst/>
            <a:ahLst/>
            <a:cxnLst>
              <a:cxn ang="0">
                <a:pos x="32" y="37"/>
              </a:cxn>
              <a:cxn ang="0">
                <a:pos x="37" y="35"/>
              </a:cxn>
              <a:cxn ang="0">
                <a:pos x="50" y="43"/>
              </a:cxn>
              <a:cxn ang="0">
                <a:pos x="50" y="44"/>
              </a:cxn>
              <a:cxn ang="0">
                <a:pos x="59" y="52"/>
              </a:cxn>
              <a:cxn ang="0">
                <a:pos x="67" y="44"/>
              </a:cxn>
              <a:cxn ang="0">
                <a:pos x="67" y="41"/>
              </a:cxn>
              <a:cxn ang="0">
                <a:pos x="82" y="24"/>
              </a:cxn>
              <a:cxn ang="0">
                <a:pos x="91" y="32"/>
              </a:cxn>
              <a:cxn ang="0">
                <a:pos x="97" y="3"/>
              </a:cxn>
              <a:cxn ang="0">
                <a:pos x="68" y="12"/>
              </a:cxn>
              <a:cxn ang="0">
                <a:pos x="77" y="19"/>
              </a:cxn>
              <a:cxn ang="0">
                <a:pos x="61" y="36"/>
              </a:cxn>
              <a:cxn ang="0">
                <a:pos x="59" y="36"/>
              </a:cxn>
              <a:cxn ang="0">
                <a:pos x="54" y="37"/>
              </a:cxn>
              <a:cxn ang="0">
                <a:pos x="40" y="29"/>
              </a:cxn>
              <a:cxn ang="0">
                <a:pos x="40" y="28"/>
              </a:cxn>
              <a:cxn ang="0">
                <a:pos x="32" y="20"/>
              </a:cxn>
              <a:cxn ang="0">
                <a:pos x="24" y="28"/>
              </a:cxn>
              <a:cxn ang="0">
                <a:pos x="24" y="31"/>
              </a:cxn>
              <a:cxn ang="0">
                <a:pos x="13" y="41"/>
              </a:cxn>
              <a:cxn ang="0">
                <a:pos x="13" y="51"/>
              </a:cxn>
              <a:cxn ang="0">
                <a:pos x="29" y="36"/>
              </a:cxn>
              <a:cxn ang="0">
                <a:pos x="32" y="37"/>
              </a:cxn>
              <a:cxn ang="0">
                <a:pos x="32" y="67"/>
              </a:cxn>
              <a:cxn ang="0">
                <a:pos x="38" y="64"/>
              </a:cxn>
              <a:cxn ang="0">
                <a:pos x="62" y="73"/>
              </a:cxn>
              <a:cxn ang="0">
                <a:pos x="70" y="81"/>
              </a:cxn>
              <a:cxn ang="0">
                <a:pos x="79" y="73"/>
              </a:cxn>
              <a:cxn ang="0">
                <a:pos x="78" y="69"/>
              </a:cxn>
              <a:cxn ang="0">
                <a:pos x="92" y="53"/>
              </a:cxn>
              <a:cxn ang="0">
                <a:pos x="98" y="57"/>
              </a:cxn>
              <a:cxn ang="0">
                <a:pos x="100" y="37"/>
              </a:cxn>
              <a:cxn ang="0">
                <a:pos x="82" y="45"/>
              </a:cxn>
              <a:cxn ang="0">
                <a:pos x="86" y="49"/>
              </a:cxn>
              <a:cxn ang="0">
                <a:pos x="73" y="64"/>
              </a:cxn>
              <a:cxn ang="0">
                <a:pos x="70" y="64"/>
              </a:cxn>
              <a:cxn ang="0">
                <a:pos x="65" y="66"/>
              </a:cxn>
              <a:cxn ang="0">
                <a:pos x="40" y="57"/>
              </a:cxn>
              <a:cxn ang="0">
                <a:pos x="32" y="50"/>
              </a:cxn>
              <a:cxn ang="0">
                <a:pos x="24" y="58"/>
              </a:cxn>
              <a:cxn ang="0">
                <a:pos x="24" y="59"/>
              </a:cxn>
              <a:cxn ang="0">
                <a:pos x="13" y="66"/>
              </a:cxn>
              <a:cxn ang="0">
                <a:pos x="13" y="75"/>
              </a:cxn>
              <a:cxn ang="0">
                <a:pos x="28" y="65"/>
              </a:cxn>
              <a:cxn ang="0">
                <a:pos x="32" y="67"/>
              </a:cxn>
              <a:cxn ang="0">
                <a:pos x="7" y="96"/>
              </a:cxn>
              <a:cxn ang="0">
                <a:pos x="7" y="96"/>
              </a:cxn>
              <a:cxn ang="0">
                <a:pos x="7" y="96"/>
              </a:cxn>
              <a:cxn ang="0">
                <a:pos x="7" y="0"/>
              </a:cxn>
              <a:cxn ang="0">
                <a:pos x="0" y="0"/>
              </a:cxn>
              <a:cxn ang="0">
                <a:pos x="0" y="103"/>
              </a:cxn>
              <a:cxn ang="0">
                <a:pos x="102" y="103"/>
              </a:cxn>
              <a:cxn ang="0">
                <a:pos x="102" y="96"/>
              </a:cxn>
              <a:cxn ang="0">
                <a:pos x="7" y="96"/>
              </a:cxn>
            </a:cxnLst>
            <a:rect l="0" t="0" r="r" b="b"/>
            <a:pathLst>
              <a:path w="102" h="103">
                <a:moveTo>
                  <a:pt x="32" y="37"/>
                </a:moveTo>
                <a:cubicBezTo>
                  <a:pt x="34" y="37"/>
                  <a:pt x="36" y="36"/>
                  <a:pt x="37" y="35"/>
                </a:cubicBezTo>
                <a:cubicBezTo>
                  <a:pt x="50" y="43"/>
                  <a:pt x="50" y="43"/>
                  <a:pt x="50" y="43"/>
                </a:cubicBezTo>
                <a:cubicBezTo>
                  <a:pt x="50" y="44"/>
                  <a:pt x="50" y="44"/>
                  <a:pt x="50" y="44"/>
                </a:cubicBezTo>
                <a:cubicBezTo>
                  <a:pt x="50" y="49"/>
                  <a:pt x="54" y="52"/>
                  <a:pt x="59" y="52"/>
                </a:cubicBezTo>
                <a:cubicBezTo>
                  <a:pt x="63" y="52"/>
                  <a:pt x="67" y="49"/>
                  <a:pt x="67" y="44"/>
                </a:cubicBezTo>
                <a:cubicBezTo>
                  <a:pt x="67" y="43"/>
                  <a:pt x="67" y="42"/>
                  <a:pt x="67" y="41"/>
                </a:cubicBezTo>
                <a:cubicBezTo>
                  <a:pt x="82" y="24"/>
                  <a:pt x="82" y="24"/>
                  <a:pt x="82" y="24"/>
                </a:cubicBezTo>
                <a:cubicBezTo>
                  <a:pt x="91" y="32"/>
                  <a:pt x="91" y="32"/>
                  <a:pt x="91" y="32"/>
                </a:cubicBezTo>
                <a:cubicBezTo>
                  <a:pt x="97" y="3"/>
                  <a:pt x="97" y="3"/>
                  <a:pt x="97" y="3"/>
                </a:cubicBezTo>
                <a:cubicBezTo>
                  <a:pt x="68" y="12"/>
                  <a:pt x="68" y="12"/>
                  <a:pt x="68" y="12"/>
                </a:cubicBezTo>
                <a:cubicBezTo>
                  <a:pt x="77" y="19"/>
                  <a:pt x="77" y="19"/>
                  <a:pt x="77" y="19"/>
                </a:cubicBezTo>
                <a:cubicBezTo>
                  <a:pt x="61" y="36"/>
                  <a:pt x="61" y="36"/>
                  <a:pt x="61" y="36"/>
                </a:cubicBezTo>
                <a:cubicBezTo>
                  <a:pt x="60" y="36"/>
                  <a:pt x="60" y="36"/>
                  <a:pt x="59" y="36"/>
                </a:cubicBezTo>
                <a:cubicBezTo>
                  <a:pt x="57" y="36"/>
                  <a:pt x="55" y="36"/>
                  <a:pt x="54" y="3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29"/>
                  <a:pt x="40" y="28"/>
                  <a:pt x="40" y="28"/>
                </a:cubicBezTo>
                <a:cubicBezTo>
                  <a:pt x="40" y="24"/>
                  <a:pt x="37" y="20"/>
                  <a:pt x="32" y="20"/>
                </a:cubicBezTo>
                <a:cubicBezTo>
                  <a:pt x="27" y="20"/>
                  <a:pt x="24" y="24"/>
                  <a:pt x="24" y="28"/>
                </a:cubicBezTo>
                <a:cubicBezTo>
                  <a:pt x="24" y="29"/>
                  <a:pt x="24" y="30"/>
                  <a:pt x="24" y="31"/>
                </a:cubicBezTo>
                <a:cubicBezTo>
                  <a:pt x="13" y="41"/>
                  <a:pt x="13" y="41"/>
                  <a:pt x="13" y="41"/>
                </a:cubicBezTo>
                <a:cubicBezTo>
                  <a:pt x="13" y="51"/>
                  <a:pt x="13" y="51"/>
                  <a:pt x="13" y="51"/>
                </a:cubicBezTo>
                <a:cubicBezTo>
                  <a:pt x="29" y="36"/>
                  <a:pt x="29" y="36"/>
                  <a:pt x="29" y="36"/>
                </a:cubicBezTo>
                <a:cubicBezTo>
                  <a:pt x="30" y="37"/>
                  <a:pt x="31" y="37"/>
                  <a:pt x="32" y="37"/>
                </a:cubicBezTo>
                <a:close/>
                <a:moveTo>
                  <a:pt x="32" y="67"/>
                </a:moveTo>
                <a:cubicBezTo>
                  <a:pt x="34" y="67"/>
                  <a:pt x="37" y="66"/>
                  <a:pt x="38" y="64"/>
                </a:cubicBezTo>
                <a:cubicBezTo>
                  <a:pt x="62" y="73"/>
                  <a:pt x="62" y="73"/>
                  <a:pt x="62" y="73"/>
                </a:cubicBezTo>
                <a:cubicBezTo>
                  <a:pt x="63" y="78"/>
                  <a:pt x="66" y="81"/>
                  <a:pt x="70" y="81"/>
                </a:cubicBezTo>
                <a:cubicBezTo>
                  <a:pt x="75" y="81"/>
                  <a:pt x="79" y="77"/>
                  <a:pt x="79" y="73"/>
                </a:cubicBezTo>
                <a:cubicBezTo>
                  <a:pt x="79" y="71"/>
                  <a:pt x="79" y="70"/>
                  <a:pt x="78" y="69"/>
                </a:cubicBezTo>
                <a:cubicBezTo>
                  <a:pt x="92" y="53"/>
                  <a:pt x="92" y="53"/>
                  <a:pt x="92" y="53"/>
                </a:cubicBezTo>
                <a:cubicBezTo>
                  <a:pt x="98" y="57"/>
                  <a:pt x="98" y="57"/>
                  <a:pt x="98" y="5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82" y="45"/>
                  <a:pt x="82" y="45"/>
                  <a:pt x="82" y="45"/>
                </a:cubicBezTo>
                <a:cubicBezTo>
                  <a:pt x="86" y="49"/>
                  <a:pt x="86" y="49"/>
                  <a:pt x="86" y="49"/>
                </a:cubicBezTo>
                <a:cubicBezTo>
                  <a:pt x="73" y="64"/>
                  <a:pt x="73" y="64"/>
                  <a:pt x="73" y="64"/>
                </a:cubicBezTo>
                <a:cubicBezTo>
                  <a:pt x="72" y="64"/>
                  <a:pt x="71" y="64"/>
                  <a:pt x="70" y="64"/>
                </a:cubicBezTo>
                <a:cubicBezTo>
                  <a:pt x="68" y="64"/>
                  <a:pt x="66" y="65"/>
                  <a:pt x="65" y="66"/>
                </a:cubicBezTo>
                <a:cubicBezTo>
                  <a:pt x="40" y="57"/>
                  <a:pt x="40" y="57"/>
                  <a:pt x="40" y="57"/>
                </a:cubicBezTo>
                <a:cubicBezTo>
                  <a:pt x="40" y="53"/>
                  <a:pt x="36" y="50"/>
                  <a:pt x="32" y="50"/>
                </a:cubicBezTo>
                <a:cubicBezTo>
                  <a:pt x="27" y="50"/>
                  <a:pt x="24" y="54"/>
                  <a:pt x="24" y="58"/>
                </a:cubicBezTo>
                <a:cubicBezTo>
                  <a:pt x="24" y="59"/>
                  <a:pt x="24" y="59"/>
                  <a:pt x="24" y="59"/>
                </a:cubicBezTo>
                <a:cubicBezTo>
                  <a:pt x="13" y="66"/>
                  <a:pt x="13" y="66"/>
                  <a:pt x="13" y="66"/>
                </a:cubicBezTo>
                <a:cubicBezTo>
                  <a:pt x="13" y="75"/>
                  <a:pt x="13" y="75"/>
                  <a:pt x="13" y="75"/>
                </a:cubicBezTo>
                <a:cubicBezTo>
                  <a:pt x="28" y="65"/>
                  <a:pt x="28" y="65"/>
                  <a:pt x="28" y="65"/>
                </a:cubicBezTo>
                <a:cubicBezTo>
                  <a:pt x="29" y="66"/>
                  <a:pt x="30" y="67"/>
                  <a:pt x="32" y="67"/>
                </a:cubicBezTo>
                <a:close/>
                <a:moveTo>
                  <a:pt x="7" y="96"/>
                </a:moveTo>
                <a:cubicBezTo>
                  <a:pt x="7" y="96"/>
                  <a:pt x="7" y="96"/>
                  <a:pt x="7" y="96"/>
                </a:cubicBezTo>
                <a:cubicBezTo>
                  <a:pt x="7" y="96"/>
                  <a:pt x="7" y="96"/>
                  <a:pt x="7" y="96"/>
                </a:cubicBezTo>
                <a:cubicBezTo>
                  <a:pt x="7" y="0"/>
                  <a:pt x="7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3"/>
                  <a:pt x="0" y="103"/>
                  <a:pt x="0" y="103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2" y="96"/>
                  <a:pt x="102" y="96"/>
                  <a:pt x="102" y="96"/>
                </a:cubicBezTo>
                <a:lnTo>
                  <a:pt x="7" y="96"/>
                </a:lnTo>
                <a:close/>
              </a:path>
            </a:pathLst>
          </a:custGeom>
          <a:solidFill>
            <a:srgbClr val="C41300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9" name="Group 150"/>
          <p:cNvGrpSpPr>
            <a:grpSpLocks noChangeAspect="1"/>
          </p:cNvGrpSpPr>
          <p:nvPr/>
        </p:nvGrpSpPr>
        <p:grpSpPr>
          <a:xfrm>
            <a:off x="7784123" y="4216567"/>
            <a:ext cx="331732" cy="298743"/>
            <a:chOff x="11257543" y="2117339"/>
            <a:chExt cx="486036" cy="437702"/>
          </a:xfrm>
        </p:grpSpPr>
        <p:sp>
          <p:nvSpPr>
            <p:cNvPr id="80" name="Freeform 8"/>
            <p:cNvSpPr>
              <a:spLocks/>
            </p:cNvSpPr>
            <p:nvPr/>
          </p:nvSpPr>
          <p:spPr bwMode="auto">
            <a:xfrm>
              <a:off x="11257543" y="2369219"/>
              <a:ext cx="486036" cy="185822"/>
            </a:xfrm>
            <a:custGeom>
              <a:avLst/>
              <a:gdLst/>
              <a:ahLst/>
              <a:cxnLst>
                <a:cxn ang="0">
                  <a:pos x="464" y="137"/>
                </a:cxn>
                <a:cxn ang="0">
                  <a:pos x="542" y="172"/>
                </a:cxn>
                <a:cxn ang="0">
                  <a:pos x="628" y="152"/>
                </a:cxn>
                <a:cxn ang="0">
                  <a:pos x="686" y="81"/>
                </a:cxn>
                <a:cxn ang="0">
                  <a:pos x="730" y="51"/>
                </a:cxn>
                <a:cxn ang="0">
                  <a:pos x="760" y="78"/>
                </a:cxn>
                <a:cxn ang="0">
                  <a:pos x="726" y="177"/>
                </a:cxn>
                <a:cxn ang="0">
                  <a:pos x="559" y="284"/>
                </a:cxn>
                <a:cxn ang="0">
                  <a:pos x="320" y="265"/>
                </a:cxn>
                <a:cxn ang="0">
                  <a:pos x="159" y="272"/>
                </a:cxn>
                <a:cxn ang="0">
                  <a:pos x="96" y="256"/>
                </a:cxn>
                <a:cxn ang="0">
                  <a:pos x="0" y="160"/>
                </a:cxn>
                <a:cxn ang="0">
                  <a:pos x="188" y="29"/>
                </a:cxn>
                <a:cxn ang="0">
                  <a:pos x="311" y="12"/>
                </a:cxn>
                <a:cxn ang="0">
                  <a:pos x="542" y="35"/>
                </a:cxn>
                <a:cxn ang="0">
                  <a:pos x="592" y="61"/>
                </a:cxn>
                <a:cxn ang="0">
                  <a:pos x="576" y="112"/>
                </a:cxn>
                <a:cxn ang="0">
                  <a:pos x="485" y="131"/>
                </a:cxn>
                <a:cxn ang="0">
                  <a:pos x="464" y="132"/>
                </a:cxn>
                <a:cxn ang="0">
                  <a:pos x="464" y="137"/>
                </a:cxn>
              </a:cxnLst>
              <a:rect l="0" t="0" r="r" b="b"/>
              <a:pathLst>
                <a:path w="766" h="293">
                  <a:moveTo>
                    <a:pt x="464" y="137"/>
                  </a:moveTo>
                  <a:cubicBezTo>
                    <a:pt x="490" y="148"/>
                    <a:pt x="516" y="160"/>
                    <a:pt x="542" y="172"/>
                  </a:cubicBezTo>
                  <a:cubicBezTo>
                    <a:pt x="575" y="186"/>
                    <a:pt x="604" y="179"/>
                    <a:pt x="628" y="152"/>
                  </a:cubicBezTo>
                  <a:cubicBezTo>
                    <a:pt x="648" y="129"/>
                    <a:pt x="665" y="103"/>
                    <a:pt x="686" y="81"/>
                  </a:cubicBezTo>
                  <a:cubicBezTo>
                    <a:pt x="698" y="69"/>
                    <a:pt x="714" y="58"/>
                    <a:pt x="730" y="51"/>
                  </a:cubicBezTo>
                  <a:cubicBezTo>
                    <a:pt x="752" y="42"/>
                    <a:pt x="766" y="54"/>
                    <a:pt x="760" y="78"/>
                  </a:cubicBezTo>
                  <a:cubicBezTo>
                    <a:pt x="751" y="111"/>
                    <a:pt x="740" y="145"/>
                    <a:pt x="726" y="177"/>
                  </a:cubicBezTo>
                  <a:cubicBezTo>
                    <a:pt x="694" y="248"/>
                    <a:pt x="634" y="276"/>
                    <a:pt x="559" y="284"/>
                  </a:cubicBezTo>
                  <a:cubicBezTo>
                    <a:pt x="478" y="293"/>
                    <a:pt x="399" y="275"/>
                    <a:pt x="320" y="265"/>
                  </a:cubicBezTo>
                  <a:cubicBezTo>
                    <a:pt x="266" y="258"/>
                    <a:pt x="210" y="249"/>
                    <a:pt x="159" y="272"/>
                  </a:cubicBezTo>
                  <a:cubicBezTo>
                    <a:pt x="129" y="285"/>
                    <a:pt x="114" y="277"/>
                    <a:pt x="96" y="256"/>
                  </a:cubicBezTo>
                  <a:cubicBezTo>
                    <a:pt x="66" y="223"/>
                    <a:pt x="33" y="193"/>
                    <a:pt x="0" y="160"/>
                  </a:cubicBezTo>
                  <a:cubicBezTo>
                    <a:pt x="63" y="115"/>
                    <a:pt x="124" y="70"/>
                    <a:pt x="188" y="29"/>
                  </a:cubicBezTo>
                  <a:cubicBezTo>
                    <a:pt x="225" y="5"/>
                    <a:pt x="268" y="0"/>
                    <a:pt x="311" y="12"/>
                  </a:cubicBezTo>
                  <a:cubicBezTo>
                    <a:pt x="387" y="32"/>
                    <a:pt x="463" y="41"/>
                    <a:pt x="542" y="35"/>
                  </a:cubicBezTo>
                  <a:cubicBezTo>
                    <a:pt x="563" y="34"/>
                    <a:pt x="581" y="41"/>
                    <a:pt x="592" y="61"/>
                  </a:cubicBezTo>
                  <a:cubicBezTo>
                    <a:pt x="603" y="81"/>
                    <a:pt x="598" y="105"/>
                    <a:pt x="576" y="112"/>
                  </a:cubicBezTo>
                  <a:cubicBezTo>
                    <a:pt x="546" y="121"/>
                    <a:pt x="515" y="125"/>
                    <a:pt x="485" y="131"/>
                  </a:cubicBezTo>
                  <a:cubicBezTo>
                    <a:pt x="478" y="132"/>
                    <a:pt x="471" y="132"/>
                    <a:pt x="464" y="132"/>
                  </a:cubicBezTo>
                  <a:cubicBezTo>
                    <a:pt x="464" y="134"/>
                    <a:pt x="464" y="135"/>
                    <a:pt x="464" y="1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9"/>
            <p:cNvSpPr>
              <a:spLocks/>
            </p:cNvSpPr>
            <p:nvPr/>
          </p:nvSpPr>
          <p:spPr bwMode="auto">
            <a:xfrm>
              <a:off x="11371667" y="2117339"/>
              <a:ext cx="370569" cy="359829"/>
            </a:xfrm>
            <a:custGeom>
              <a:avLst/>
              <a:gdLst/>
              <a:ahLst/>
              <a:cxnLst>
                <a:cxn ang="0">
                  <a:pos x="347" y="543"/>
                </a:cxn>
                <a:cxn ang="0">
                  <a:pos x="401" y="525"/>
                </a:cxn>
                <a:cxn ang="0">
                  <a:pos x="410" y="430"/>
                </a:cxn>
                <a:cxn ang="0">
                  <a:pos x="399" y="403"/>
                </a:cxn>
                <a:cxn ang="0">
                  <a:pos x="341" y="301"/>
                </a:cxn>
                <a:cxn ang="0">
                  <a:pos x="298" y="284"/>
                </a:cxn>
                <a:cxn ang="0">
                  <a:pos x="294" y="236"/>
                </a:cxn>
                <a:cxn ang="0">
                  <a:pos x="295" y="176"/>
                </a:cxn>
                <a:cxn ang="0">
                  <a:pos x="296" y="172"/>
                </a:cxn>
                <a:cxn ang="0">
                  <a:pos x="355" y="225"/>
                </a:cxn>
                <a:cxn ang="0">
                  <a:pos x="392" y="225"/>
                </a:cxn>
                <a:cxn ang="0">
                  <a:pos x="317" y="137"/>
                </a:cxn>
                <a:cxn ang="0">
                  <a:pos x="294" y="112"/>
                </a:cxn>
                <a:cxn ang="0">
                  <a:pos x="293" y="103"/>
                </a:cxn>
                <a:cxn ang="0">
                  <a:pos x="275" y="103"/>
                </a:cxn>
                <a:cxn ang="0">
                  <a:pos x="274" y="114"/>
                </a:cxn>
                <a:cxn ang="0">
                  <a:pos x="255" y="137"/>
                </a:cxn>
                <a:cxn ang="0">
                  <a:pos x="173" y="223"/>
                </a:cxn>
                <a:cxn ang="0">
                  <a:pos x="246" y="316"/>
                </a:cxn>
                <a:cxn ang="0">
                  <a:pos x="274" y="353"/>
                </a:cxn>
                <a:cxn ang="0">
                  <a:pos x="274" y="417"/>
                </a:cxn>
                <a:cxn ang="0">
                  <a:pos x="220" y="411"/>
                </a:cxn>
                <a:cxn ang="0">
                  <a:pos x="210" y="399"/>
                </a:cxn>
                <a:cxn ang="0">
                  <a:pos x="179" y="376"/>
                </a:cxn>
                <a:cxn ang="0">
                  <a:pos x="166" y="377"/>
                </a:cxn>
                <a:cxn ang="0">
                  <a:pos x="168" y="398"/>
                </a:cxn>
                <a:cxn ang="0">
                  <a:pos x="22" y="402"/>
                </a:cxn>
                <a:cxn ang="0">
                  <a:pos x="46" y="182"/>
                </a:cxn>
                <a:cxn ang="0">
                  <a:pos x="455" y="105"/>
                </a:cxn>
                <a:cxn ang="0">
                  <a:pos x="535" y="427"/>
                </a:cxn>
                <a:cxn ang="0">
                  <a:pos x="530" y="436"/>
                </a:cxn>
                <a:cxn ang="0">
                  <a:pos x="442" y="532"/>
                </a:cxn>
                <a:cxn ang="0">
                  <a:pos x="347" y="543"/>
                </a:cxn>
              </a:cxnLst>
              <a:rect l="0" t="0" r="r" b="b"/>
              <a:pathLst>
                <a:path w="584" h="567">
                  <a:moveTo>
                    <a:pt x="347" y="543"/>
                  </a:moveTo>
                  <a:cubicBezTo>
                    <a:pt x="366" y="537"/>
                    <a:pt x="384" y="532"/>
                    <a:pt x="401" y="525"/>
                  </a:cubicBezTo>
                  <a:cubicBezTo>
                    <a:pt x="445" y="509"/>
                    <a:pt x="442" y="452"/>
                    <a:pt x="410" y="430"/>
                  </a:cubicBezTo>
                  <a:cubicBezTo>
                    <a:pt x="397" y="422"/>
                    <a:pt x="396" y="415"/>
                    <a:pt x="399" y="403"/>
                  </a:cubicBezTo>
                  <a:cubicBezTo>
                    <a:pt x="409" y="353"/>
                    <a:pt x="389" y="319"/>
                    <a:pt x="341" y="301"/>
                  </a:cubicBezTo>
                  <a:cubicBezTo>
                    <a:pt x="326" y="296"/>
                    <a:pt x="305" y="295"/>
                    <a:pt x="298" y="284"/>
                  </a:cubicBezTo>
                  <a:cubicBezTo>
                    <a:pt x="290" y="272"/>
                    <a:pt x="295" y="252"/>
                    <a:pt x="294" y="236"/>
                  </a:cubicBezTo>
                  <a:cubicBezTo>
                    <a:pt x="294" y="216"/>
                    <a:pt x="295" y="196"/>
                    <a:pt x="295" y="176"/>
                  </a:cubicBezTo>
                  <a:cubicBezTo>
                    <a:pt x="295" y="174"/>
                    <a:pt x="295" y="173"/>
                    <a:pt x="296" y="172"/>
                  </a:cubicBezTo>
                  <a:cubicBezTo>
                    <a:pt x="324" y="168"/>
                    <a:pt x="338" y="180"/>
                    <a:pt x="355" y="225"/>
                  </a:cubicBezTo>
                  <a:cubicBezTo>
                    <a:pt x="367" y="225"/>
                    <a:pt x="380" y="225"/>
                    <a:pt x="392" y="225"/>
                  </a:cubicBezTo>
                  <a:cubicBezTo>
                    <a:pt x="387" y="175"/>
                    <a:pt x="362" y="144"/>
                    <a:pt x="317" y="137"/>
                  </a:cubicBezTo>
                  <a:cubicBezTo>
                    <a:pt x="299" y="135"/>
                    <a:pt x="291" y="129"/>
                    <a:pt x="294" y="112"/>
                  </a:cubicBezTo>
                  <a:cubicBezTo>
                    <a:pt x="295" y="109"/>
                    <a:pt x="294" y="107"/>
                    <a:pt x="293" y="103"/>
                  </a:cubicBezTo>
                  <a:cubicBezTo>
                    <a:pt x="287" y="103"/>
                    <a:pt x="282" y="103"/>
                    <a:pt x="275" y="103"/>
                  </a:cubicBezTo>
                  <a:cubicBezTo>
                    <a:pt x="275" y="107"/>
                    <a:pt x="273" y="111"/>
                    <a:pt x="274" y="114"/>
                  </a:cubicBezTo>
                  <a:cubicBezTo>
                    <a:pt x="276" y="129"/>
                    <a:pt x="271" y="135"/>
                    <a:pt x="255" y="137"/>
                  </a:cubicBezTo>
                  <a:cubicBezTo>
                    <a:pt x="211" y="140"/>
                    <a:pt x="175" y="179"/>
                    <a:pt x="173" y="223"/>
                  </a:cubicBezTo>
                  <a:cubicBezTo>
                    <a:pt x="170" y="269"/>
                    <a:pt x="195" y="303"/>
                    <a:pt x="246" y="316"/>
                  </a:cubicBezTo>
                  <a:cubicBezTo>
                    <a:pt x="270" y="321"/>
                    <a:pt x="276" y="331"/>
                    <a:pt x="274" y="353"/>
                  </a:cubicBezTo>
                  <a:cubicBezTo>
                    <a:pt x="272" y="373"/>
                    <a:pt x="274" y="394"/>
                    <a:pt x="274" y="417"/>
                  </a:cubicBezTo>
                  <a:cubicBezTo>
                    <a:pt x="254" y="415"/>
                    <a:pt x="237" y="414"/>
                    <a:pt x="220" y="411"/>
                  </a:cubicBezTo>
                  <a:cubicBezTo>
                    <a:pt x="216" y="410"/>
                    <a:pt x="210" y="403"/>
                    <a:pt x="210" y="399"/>
                  </a:cubicBezTo>
                  <a:cubicBezTo>
                    <a:pt x="210" y="376"/>
                    <a:pt x="197" y="374"/>
                    <a:pt x="179" y="376"/>
                  </a:cubicBezTo>
                  <a:cubicBezTo>
                    <a:pt x="175" y="377"/>
                    <a:pt x="171" y="377"/>
                    <a:pt x="166" y="377"/>
                  </a:cubicBezTo>
                  <a:cubicBezTo>
                    <a:pt x="167" y="383"/>
                    <a:pt x="167" y="389"/>
                    <a:pt x="168" y="398"/>
                  </a:cubicBezTo>
                  <a:cubicBezTo>
                    <a:pt x="119" y="388"/>
                    <a:pt x="70" y="377"/>
                    <a:pt x="22" y="402"/>
                  </a:cubicBezTo>
                  <a:cubicBezTo>
                    <a:pt x="0" y="323"/>
                    <a:pt x="6" y="250"/>
                    <a:pt x="46" y="182"/>
                  </a:cubicBezTo>
                  <a:cubicBezTo>
                    <a:pt x="132" y="36"/>
                    <a:pt x="321" y="0"/>
                    <a:pt x="455" y="105"/>
                  </a:cubicBezTo>
                  <a:cubicBezTo>
                    <a:pt x="550" y="179"/>
                    <a:pt x="584" y="316"/>
                    <a:pt x="535" y="427"/>
                  </a:cubicBezTo>
                  <a:cubicBezTo>
                    <a:pt x="533" y="430"/>
                    <a:pt x="533" y="435"/>
                    <a:pt x="530" y="436"/>
                  </a:cubicBezTo>
                  <a:cubicBezTo>
                    <a:pt x="490" y="458"/>
                    <a:pt x="472" y="501"/>
                    <a:pt x="442" y="532"/>
                  </a:cubicBezTo>
                  <a:cubicBezTo>
                    <a:pt x="410" y="565"/>
                    <a:pt x="390" y="567"/>
                    <a:pt x="347" y="54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10"/>
            <p:cNvSpPr>
              <a:spLocks/>
            </p:cNvSpPr>
            <p:nvPr/>
          </p:nvSpPr>
          <p:spPr bwMode="auto">
            <a:xfrm>
              <a:off x="11506200" y="2224751"/>
              <a:ext cx="38668" cy="69549"/>
            </a:xfrm>
            <a:custGeom>
              <a:avLst/>
              <a:gdLst/>
              <a:ahLst/>
              <a:cxnLst>
                <a:cxn ang="0">
                  <a:pos x="61" y="1"/>
                </a:cxn>
                <a:cxn ang="0">
                  <a:pos x="61" y="110"/>
                </a:cxn>
                <a:cxn ang="0">
                  <a:pos x="1" y="55"/>
                </a:cxn>
                <a:cxn ang="0">
                  <a:pos x="61" y="1"/>
                </a:cxn>
              </a:cxnLst>
              <a:rect l="0" t="0" r="r" b="b"/>
              <a:pathLst>
                <a:path w="61" h="110">
                  <a:moveTo>
                    <a:pt x="61" y="1"/>
                  </a:moveTo>
                  <a:cubicBezTo>
                    <a:pt x="61" y="38"/>
                    <a:pt x="61" y="74"/>
                    <a:pt x="61" y="110"/>
                  </a:cubicBezTo>
                  <a:cubicBezTo>
                    <a:pt x="26" y="110"/>
                    <a:pt x="0" y="86"/>
                    <a:pt x="1" y="55"/>
                  </a:cubicBezTo>
                  <a:cubicBezTo>
                    <a:pt x="3" y="21"/>
                    <a:pt x="25" y="0"/>
                    <a:pt x="61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11558831" y="2327329"/>
              <a:ext cx="49678" cy="53974"/>
            </a:xfrm>
            <a:custGeom>
              <a:avLst/>
              <a:gdLst/>
              <a:ahLst/>
              <a:cxnLst>
                <a:cxn ang="0">
                  <a:pos x="60" y="81"/>
                </a:cxn>
                <a:cxn ang="0">
                  <a:pos x="0" y="85"/>
                </a:cxn>
                <a:cxn ang="0">
                  <a:pos x="1" y="0"/>
                </a:cxn>
                <a:cxn ang="0">
                  <a:pos x="60" y="81"/>
                </a:cxn>
              </a:cxnLst>
              <a:rect l="0" t="0" r="r" b="b"/>
              <a:pathLst>
                <a:path w="78" h="85">
                  <a:moveTo>
                    <a:pt x="60" y="81"/>
                  </a:moveTo>
                  <a:cubicBezTo>
                    <a:pt x="41" y="82"/>
                    <a:pt x="21" y="84"/>
                    <a:pt x="0" y="85"/>
                  </a:cubicBezTo>
                  <a:cubicBezTo>
                    <a:pt x="0" y="55"/>
                    <a:pt x="0" y="28"/>
                    <a:pt x="1" y="0"/>
                  </a:cubicBezTo>
                  <a:cubicBezTo>
                    <a:pt x="39" y="3"/>
                    <a:pt x="78" y="31"/>
                    <a:pt x="60" y="8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3" name="Freeform 249"/>
          <p:cNvSpPr>
            <a:spLocks noChangeAspect="1" noEditPoints="1"/>
          </p:cNvSpPr>
          <p:nvPr/>
        </p:nvSpPr>
        <p:spPr bwMode="auto">
          <a:xfrm>
            <a:off x="7848601" y="4953001"/>
            <a:ext cx="232489" cy="298743"/>
          </a:xfrm>
          <a:custGeom>
            <a:avLst/>
            <a:gdLst/>
            <a:ahLst/>
            <a:cxnLst>
              <a:cxn ang="0">
                <a:pos x="50" y="43"/>
              </a:cxn>
              <a:cxn ang="0">
                <a:pos x="41" y="41"/>
              </a:cxn>
              <a:cxn ang="0">
                <a:pos x="32" y="43"/>
              </a:cxn>
              <a:cxn ang="0">
                <a:pos x="32" y="15"/>
              </a:cxn>
              <a:cxn ang="0">
                <a:pos x="9" y="15"/>
              </a:cxn>
              <a:cxn ang="0">
                <a:pos x="9" y="29"/>
              </a:cxn>
              <a:cxn ang="0">
                <a:pos x="20" y="49"/>
              </a:cxn>
              <a:cxn ang="0">
                <a:pos x="9" y="73"/>
              </a:cxn>
              <a:cxn ang="0">
                <a:pos x="41" y="105"/>
              </a:cxn>
              <a:cxn ang="0">
                <a:pos x="73" y="73"/>
              </a:cxn>
              <a:cxn ang="0">
                <a:pos x="60" y="48"/>
              </a:cxn>
              <a:cxn ang="0">
                <a:pos x="73" y="29"/>
              </a:cxn>
              <a:cxn ang="0">
                <a:pos x="73" y="15"/>
              </a:cxn>
              <a:cxn ang="0">
                <a:pos x="50" y="15"/>
              </a:cxn>
              <a:cxn ang="0">
                <a:pos x="50" y="43"/>
              </a:cxn>
              <a:cxn ang="0">
                <a:pos x="62" y="73"/>
              </a:cxn>
              <a:cxn ang="0">
                <a:pos x="41" y="94"/>
              </a:cxn>
              <a:cxn ang="0">
                <a:pos x="20" y="73"/>
              </a:cxn>
              <a:cxn ang="0">
                <a:pos x="41" y="53"/>
              </a:cxn>
              <a:cxn ang="0">
                <a:pos x="62" y="73"/>
              </a:cxn>
              <a:cxn ang="0">
                <a:pos x="0" y="0"/>
              </a:cxn>
              <a:cxn ang="0">
                <a:pos x="0" y="9"/>
              </a:cxn>
              <a:cxn ang="0">
                <a:pos x="82" y="9"/>
              </a:cxn>
              <a:cxn ang="0">
                <a:pos x="82" y="0"/>
              </a:cxn>
              <a:cxn ang="0">
                <a:pos x="0" y="0"/>
              </a:cxn>
              <a:cxn ang="0">
                <a:pos x="40" y="54"/>
              </a:cxn>
              <a:cxn ang="0">
                <a:pos x="36" y="67"/>
              </a:cxn>
              <a:cxn ang="0">
                <a:pos x="23" y="67"/>
              </a:cxn>
              <a:cxn ang="0">
                <a:pos x="22" y="67"/>
              </a:cxn>
              <a:cxn ang="0">
                <a:pos x="23" y="68"/>
              </a:cxn>
              <a:cxn ang="0">
                <a:pos x="33" y="76"/>
              </a:cxn>
              <a:cxn ang="0">
                <a:pos x="29" y="88"/>
              </a:cxn>
              <a:cxn ang="0">
                <a:pos x="29" y="89"/>
              </a:cxn>
              <a:cxn ang="0">
                <a:pos x="30" y="89"/>
              </a:cxn>
              <a:cxn ang="0">
                <a:pos x="41" y="81"/>
              </a:cxn>
              <a:cxn ang="0">
                <a:pos x="52" y="89"/>
              </a:cxn>
              <a:cxn ang="0">
                <a:pos x="52" y="89"/>
              </a:cxn>
              <a:cxn ang="0">
                <a:pos x="53" y="89"/>
              </a:cxn>
              <a:cxn ang="0">
                <a:pos x="53" y="88"/>
              </a:cxn>
              <a:cxn ang="0">
                <a:pos x="49" y="76"/>
              </a:cxn>
              <a:cxn ang="0">
                <a:pos x="59" y="68"/>
              </a:cxn>
              <a:cxn ang="0">
                <a:pos x="60" y="67"/>
              </a:cxn>
              <a:cxn ang="0">
                <a:pos x="59" y="67"/>
              </a:cxn>
              <a:cxn ang="0">
                <a:pos x="46" y="67"/>
              </a:cxn>
              <a:cxn ang="0">
                <a:pos x="42" y="54"/>
              </a:cxn>
              <a:cxn ang="0">
                <a:pos x="41" y="54"/>
              </a:cxn>
              <a:cxn ang="0">
                <a:pos x="40" y="54"/>
              </a:cxn>
            </a:cxnLst>
            <a:rect l="0" t="0" r="r" b="b"/>
            <a:pathLst>
              <a:path w="82" h="105">
                <a:moveTo>
                  <a:pt x="50" y="43"/>
                </a:moveTo>
                <a:cubicBezTo>
                  <a:pt x="47" y="42"/>
                  <a:pt x="44" y="41"/>
                  <a:pt x="41" y="41"/>
                </a:cubicBezTo>
                <a:cubicBezTo>
                  <a:pt x="38" y="41"/>
                  <a:pt x="35" y="42"/>
                  <a:pt x="32" y="43"/>
                </a:cubicBezTo>
                <a:cubicBezTo>
                  <a:pt x="32" y="15"/>
                  <a:pt x="32" y="15"/>
                  <a:pt x="32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29"/>
                  <a:pt x="9" y="29"/>
                  <a:pt x="9" y="29"/>
                </a:cubicBezTo>
                <a:cubicBezTo>
                  <a:pt x="20" y="49"/>
                  <a:pt x="20" y="49"/>
                  <a:pt x="20" y="49"/>
                </a:cubicBezTo>
                <a:cubicBezTo>
                  <a:pt x="13" y="55"/>
                  <a:pt x="9" y="64"/>
                  <a:pt x="9" y="73"/>
                </a:cubicBezTo>
                <a:cubicBezTo>
                  <a:pt x="9" y="91"/>
                  <a:pt x="23" y="105"/>
                  <a:pt x="41" y="105"/>
                </a:cubicBezTo>
                <a:cubicBezTo>
                  <a:pt x="59" y="105"/>
                  <a:pt x="73" y="91"/>
                  <a:pt x="73" y="73"/>
                </a:cubicBezTo>
                <a:cubicBezTo>
                  <a:pt x="73" y="63"/>
                  <a:pt x="68" y="54"/>
                  <a:pt x="60" y="48"/>
                </a:cubicBezTo>
                <a:cubicBezTo>
                  <a:pt x="73" y="29"/>
                  <a:pt x="73" y="29"/>
                  <a:pt x="73" y="29"/>
                </a:cubicBezTo>
                <a:cubicBezTo>
                  <a:pt x="73" y="15"/>
                  <a:pt x="73" y="15"/>
                  <a:pt x="73" y="15"/>
                </a:cubicBezTo>
                <a:cubicBezTo>
                  <a:pt x="50" y="15"/>
                  <a:pt x="50" y="15"/>
                  <a:pt x="50" y="15"/>
                </a:cubicBezTo>
                <a:lnTo>
                  <a:pt x="50" y="43"/>
                </a:lnTo>
                <a:close/>
                <a:moveTo>
                  <a:pt x="62" y="73"/>
                </a:moveTo>
                <a:cubicBezTo>
                  <a:pt x="62" y="85"/>
                  <a:pt x="52" y="94"/>
                  <a:pt x="41" y="94"/>
                </a:cubicBezTo>
                <a:cubicBezTo>
                  <a:pt x="30" y="94"/>
                  <a:pt x="20" y="85"/>
                  <a:pt x="20" y="73"/>
                </a:cubicBezTo>
                <a:cubicBezTo>
                  <a:pt x="20" y="62"/>
                  <a:pt x="30" y="53"/>
                  <a:pt x="41" y="53"/>
                </a:cubicBezTo>
                <a:cubicBezTo>
                  <a:pt x="52" y="53"/>
                  <a:pt x="62" y="62"/>
                  <a:pt x="62" y="73"/>
                </a:cubicBezTo>
                <a:close/>
                <a:moveTo>
                  <a:pt x="0" y="0"/>
                </a:moveTo>
                <a:cubicBezTo>
                  <a:pt x="0" y="9"/>
                  <a:pt x="0" y="9"/>
                  <a:pt x="0" y="9"/>
                </a:cubicBezTo>
                <a:cubicBezTo>
                  <a:pt x="82" y="9"/>
                  <a:pt x="82" y="9"/>
                  <a:pt x="82" y="9"/>
                </a:cubicBezTo>
                <a:cubicBezTo>
                  <a:pt x="82" y="0"/>
                  <a:pt x="82" y="0"/>
                  <a:pt x="82" y="0"/>
                </a:cubicBezTo>
                <a:lnTo>
                  <a:pt x="0" y="0"/>
                </a:lnTo>
                <a:close/>
                <a:moveTo>
                  <a:pt x="40" y="54"/>
                </a:moveTo>
                <a:cubicBezTo>
                  <a:pt x="36" y="67"/>
                  <a:pt x="36" y="67"/>
                  <a:pt x="36" y="67"/>
                </a:cubicBezTo>
                <a:cubicBezTo>
                  <a:pt x="23" y="67"/>
                  <a:pt x="23" y="67"/>
                  <a:pt x="23" y="67"/>
                </a:cubicBezTo>
                <a:cubicBezTo>
                  <a:pt x="23" y="67"/>
                  <a:pt x="22" y="67"/>
                  <a:pt x="22" y="67"/>
                </a:cubicBezTo>
                <a:cubicBezTo>
                  <a:pt x="22" y="68"/>
                  <a:pt x="22" y="68"/>
                  <a:pt x="23" y="68"/>
                </a:cubicBezTo>
                <a:cubicBezTo>
                  <a:pt x="33" y="76"/>
                  <a:pt x="33" y="76"/>
                  <a:pt x="33" y="76"/>
                </a:cubicBezTo>
                <a:cubicBezTo>
                  <a:pt x="29" y="88"/>
                  <a:pt x="29" y="88"/>
                  <a:pt x="29" y="88"/>
                </a:cubicBezTo>
                <a:cubicBezTo>
                  <a:pt x="29" y="89"/>
                  <a:pt x="29" y="89"/>
                  <a:pt x="29" y="89"/>
                </a:cubicBezTo>
                <a:cubicBezTo>
                  <a:pt x="30" y="89"/>
                  <a:pt x="30" y="89"/>
                  <a:pt x="30" y="89"/>
                </a:cubicBezTo>
                <a:cubicBezTo>
                  <a:pt x="41" y="81"/>
                  <a:pt x="41" y="81"/>
                  <a:pt x="41" y="81"/>
                </a:cubicBezTo>
                <a:cubicBezTo>
                  <a:pt x="52" y="89"/>
                  <a:pt x="52" y="89"/>
                  <a:pt x="52" y="89"/>
                </a:cubicBezTo>
                <a:cubicBezTo>
                  <a:pt x="52" y="89"/>
                  <a:pt x="52" y="89"/>
                  <a:pt x="52" y="89"/>
                </a:cubicBezTo>
                <a:cubicBezTo>
                  <a:pt x="52" y="89"/>
                  <a:pt x="52" y="89"/>
                  <a:pt x="53" y="89"/>
                </a:cubicBezTo>
                <a:cubicBezTo>
                  <a:pt x="53" y="89"/>
                  <a:pt x="53" y="89"/>
                  <a:pt x="53" y="88"/>
                </a:cubicBezTo>
                <a:cubicBezTo>
                  <a:pt x="49" y="76"/>
                  <a:pt x="49" y="76"/>
                  <a:pt x="49" y="76"/>
                </a:cubicBezTo>
                <a:cubicBezTo>
                  <a:pt x="59" y="68"/>
                  <a:pt x="59" y="68"/>
                  <a:pt x="59" y="68"/>
                </a:cubicBezTo>
                <a:cubicBezTo>
                  <a:pt x="60" y="68"/>
                  <a:pt x="60" y="68"/>
                  <a:pt x="60" y="67"/>
                </a:cubicBezTo>
                <a:cubicBezTo>
                  <a:pt x="60" y="67"/>
                  <a:pt x="59" y="67"/>
                  <a:pt x="59" y="67"/>
                </a:cubicBezTo>
                <a:cubicBezTo>
                  <a:pt x="46" y="67"/>
                  <a:pt x="46" y="67"/>
                  <a:pt x="46" y="67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1" y="54"/>
                  <a:pt x="41" y="54"/>
                </a:cubicBezTo>
                <a:cubicBezTo>
                  <a:pt x="41" y="54"/>
                  <a:pt x="40" y="54"/>
                  <a:pt x="40" y="54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" name="TextColumnContent"/>
          <p:cNvSpPr>
            <a:spLocks noChangeArrowheads="1"/>
          </p:cNvSpPr>
          <p:nvPr/>
        </p:nvSpPr>
        <p:spPr bwMode="gray">
          <a:xfrm>
            <a:off x="8214524" y="4933768"/>
            <a:ext cx="2031516" cy="43475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49846" tIns="49846" rIns="16615" bIns="33231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IN" sz="1200" b="1" dirty="0">
                <a:solidFill>
                  <a:srgbClr val="000000"/>
                </a:solidFill>
              </a:rPr>
              <a:t>10+ national awards for technology and servic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75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4007114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23"/>
          <p:cNvGrpSpPr/>
          <p:nvPr/>
        </p:nvGrpSpPr>
        <p:grpSpPr>
          <a:xfrm>
            <a:off x="9290400" y="1256176"/>
            <a:ext cx="553427" cy="635449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" name="Rounded Rectangle 3"/>
          <p:cNvSpPr/>
          <p:nvPr/>
        </p:nvSpPr>
        <p:spPr>
          <a:xfrm>
            <a:off x="1644377" y="2091208"/>
            <a:ext cx="2664000" cy="3732818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6277" y="2197540"/>
            <a:ext cx="2500590" cy="4343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1685582" y="2667000"/>
            <a:ext cx="2636060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Inadequate primary healthcare infrastructure for coverage of entire population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Inadequate coverage esp. in rural area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Poor accessibility to affordable healthcare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Non existent health records  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Isolated systems, processes 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Short supply of equipment, medicines &amp; manpower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Lack of control and supervi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763744" y="2091208"/>
            <a:ext cx="2664000" cy="3732818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25080" y="2197540"/>
            <a:ext cx="2500590" cy="4343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90000" rIns="108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869846" y="2091207"/>
            <a:ext cx="2664000" cy="3732819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3882" y="2197540"/>
            <a:ext cx="2500590" cy="434375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Impact/ Value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603377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722179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840982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722177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840979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603374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033718" y="1379593"/>
            <a:ext cx="1003310" cy="3333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603375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10800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Multi-agency (10)</a:t>
            </a: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722178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Government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840980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763745" y="2667000"/>
            <a:ext cx="2634253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</a:rPr>
              <a:t>Cost effective </a:t>
            </a:r>
            <a:r>
              <a:rPr lang="en-US" sz="1400" b="1" dirty="0" err="1">
                <a:solidFill>
                  <a:srgbClr val="000000"/>
                </a:solidFill>
              </a:rPr>
              <a:t>eHealth</a:t>
            </a:r>
            <a:r>
              <a:rPr lang="en-US" sz="1400" b="1" dirty="0">
                <a:solidFill>
                  <a:srgbClr val="000000"/>
                </a:solidFill>
              </a:rPr>
              <a:t> Center (</a:t>
            </a:r>
            <a:r>
              <a:rPr lang="en-US" sz="1400" b="1" dirty="0" err="1">
                <a:solidFill>
                  <a:srgbClr val="000000"/>
                </a:solidFill>
              </a:rPr>
              <a:t>eHC</a:t>
            </a:r>
            <a:r>
              <a:rPr lang="en-US" sz="1400" b="1" dirty="0">
                <a:solidFill>
                  <a:srgbClr val="000000"/>
                </a:solidFill>
              </a:rPr>
              <a:t>) initiative, leveraging the power of cloud computing</a:t>
            </a: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177800" lvl="1" indent="-177800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Integrates across health records, medical devices, telemedicine</a:t>
            </a:r>
          </a:p>
          <a:p>
            <a:pPr marL="177800" lvl="1" indent="-177800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Remote access and ubiquitous delivery using cloud</a:t>
            </a:r>
          </a:p>
          <a:p>
            <a:pPr marL="177800" lvl="1" indent="-177800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Real time analytics and dashboards </a:t>
            </a:r>
          </a:p>
          <a:p>
            <a:pPr marL="177800" lvl="1" indent="-177800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400" dirty="0">
                <a:solidFill>
                  <a:srgbClr val="000000"/>
                </a:solidFill>
                <a:cs typeface="Arial" pitchFamily="34" charset="0"/>
              </a:rPr>
              <a:t>Easy access to data – patients, hospitals and doctors</a:t>
            </a:r>
          </a:p>
        </p:txBody>
      </p:sp>
      <p:sp>
        <p:nvSpPr>
          <p:cNvPr id="74" name="Title 4"/>
          <p:cNvSpPr>
            <a:spLocks noGrp="1"/>
          </p:cNvSpPr>
          <p:nvPr>
            <p:ph type="title"/>
          </p:nvPr>
        </p:nvSpPr>
        <p:spPr>
          <a:xfrm>
            <a:off x="0" y="366822"/>
            <a:ext cx="8992800" cy="752400"/>
          </a:xfrm>
        </p:spPr>
        <p:txBody>
          <a:bodyPr/>
          <a:lstStyle/>
          <a:p>
            <a:pPr lvl="0"/>
            <a:r>
              <a:rPr lang="en-US" dirty="0" smtClean="0"/>
              <a:t>Affordable and effective healthcare access using cloud</a:t>
            </a:r>
            <a:endParaRPr lang="en-US" dirty="0"/>
          </a:p>
        </p:txBody>
      </p:sp>
      <p:pic>
        <p:nvPicPr>
          <p:cNvPr id="76" name="Picture 3" descr="C:\Users\Ranjan Rakesh\Pictures\to delete\hp-logo.jpg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11168742" y="980898"/>
            <a:ext cx="1023258" cy="475933"/>
          </a:xfrm>
          <a:prstGeom prst="rect">
            <a:avLst/>
          </a:prstGeom>
          <a:noFill/>
        </p:spPr>
      </p:pic>
      <p:sp>
        <p:nvSpPr>
          <p:cNvPr id="77" name="TextColumnContent"/>
          <p:cNvSpPr>
            <a:spLocks noChangeArrowheads="1"/>
          </p:cNvSpPr>
          <p:nvPr/>
        </p:nvSpPr>
        <p:spPr bwMode="gray">
          <a:xfrm>
            <a:off x="8363000" y="5285174"/>
            <a:ext cx="2134861" cy="62593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solidFill>
                  <a:srgbClr val="000000"/>
                </a:solidFill>
                <a:latin typeface="Arial "/>
              </a:rPr>
              <a:t>Improved accuracy of healthcare</a:t>
            </a:r>
          </a:p>
        </p:txBody>
      </p:sp>
      <p:sp>
        <p:nvSpPr>
          <p:cNvPr id="86" name="TextColumnContent"/>
          <p:cNvSpPr>
            <a:spLocks noChangeArrowheads="1"/>
          </p:cNvSpPr>
          <p:nvPr/>
        </p:nvSpPr>
        <p:spPr bwMode="gray">
          <a:xfrm>
            <a:off x="8362999" y="3521536"/>
            <a:ext cx="2220600" cy="1219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solidFill>
                  <a:srgbClr val="000000"/>
                </a:solidFill>
                <a:latin typeface="Arial "/>
              </a:rPr>
              <a:t>&gt;100,000 patient visits in about 2 years</a:t>
            </a:r>
          </a:p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endParaRPr lang="en-US" sz="1400" b="1" spc="-20" dirty="0">
              <a:solidFill>
                <a:srgbClr val="000000"/>
              </a:solidFill>
              <a:latin typeface="Arial "/>
            </a:endParaRPr>
          </a:p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solidFill>
                  <a:srgbClr val="000000"/>
                </a:solidFill>
                <a:latin typeface="Arial "/>
              </a:rPr>
              <a:t>&gt;40 e-healthcare centres established  across multiple states</a:t>
            </a:r>
          </a:p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endParaRPr lang="en-US" sz="1400" b="1" spc="-20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87" name="Freeform 248"/>
          <p:cNvSpPr>
            <a:spLocks noChangeAspect="1" noEditPoints="1"/>
          </p:cNvSpPr>
          <p:nvPr/>
        </p:nvSpPr>
        <p:spPr bwMode="auto">
          <a:xfrm>
            <a:off x="7974316" y="3561317"/>
            <a:ext cx="315073" cy="317687"/>
          </a:xfrm>
          <a:custGeom>
            <a:avLst/>
            <a:gdLst/>
            <a:ahLst/>
            <a:cxnLst>
              <a:cxn ang="0">
                <a:pos x="32" y="37"/>
              </a:cxn>
              <a:cxn ang="0">
                <a:pos x="37" y="35"/>
              </a:cxn>
              <a:cxn ang="0">
                <a:pos x="50" y="43"/>
              </a:cxn>
              <a:cxn ang="0">
                <a:pos x="50" y="44"/>
              </a:cxn>
              <a:cxn ang="0">
                <a:pos x="59" y="52"/>
              </a:cxn>
              <a:cxn ang="0">
                <a:pos x="67" y="44"/>
              </a:cxn>
              <a:cxn ang="0">
                <a:pos x="67" y="41"/>
              </a:cxn>
              <a:cxn ang="0">
                <a:pos x="82" y="24"/>
              </a:cxn>
              <a:cxn ang="0">
                <a:pos x="91" y="32"/>
              </a:cxn>
              <a:cxn ang="0">
                <a:pos x="97" y="3"/>
              </a:cxn>
              <a:cxn ang="0">
                <a:pos x="68" y="12"/>
              </a:cxn>
              <a:cxn ang="0">
                <a:pos x="77" y="19"/>
              </a:cxn>
              <a:cxn ang="0">
                <a:pos x="61" y="36"/>
              </a:cxn>
              <a:cxn ang="0">
                <a:pos x="59" y="36"/>
              </a:cxn>
              <a:cxn ang="0">
                <a:pos x="54" y="37"/>
              </a:cxn>
              <a:cxn ang="0">
                <a:pos x="40" y="29"/>
              </a:cxn>
              <a:cxn ang="0">
                <a:pos x="40" y="28"/>
              </a:cxn>
              <a:cxn ang="0">
                <a:pos x="32" y="20"/>
              </a:cxn>
              <a:cxn ang="0">
                <a:pos x="24" y="28"/>
              </a:cxn>
              <a:cxn ang="0">
                <a:pos x="24" y="31"/>
              </a:cxn>
              <a:cxn ang="0">
                <a:pos x="13" y="41"/>
              </a:cxn>
              <a:cxn ang="0">
                <a:pos x="13" y="51"/>
              </a:cxn>
              <a:cxn ang="0">
                <a:pos x="29" y="36"/>
              </a:cxn>
              <a:cxn ang="0">
                <a:pos x="32" y="37"/>
              </a:cxn>
              <a:cxn ang="0">
                <a:pos x="32" y="67"/>
              </a:cxn>
              <a:cxn ang="0">
                <a:pos x="38" y="64"/>
              </a:cxn>
              <a:cxn ang="0">
                <a:pos x="62" y="73"/>
              </a:cxn>
              <a:cxn ang="0">
                <a:pos x="70" y="81"/>
              </a:cxn>
              <a:cxn ang="0">
                <a:pos x="79" y="73"/>
              </a:cxn>
              <a:cxn ang="0">
                <a:pos x="78" y="69"/>
              </a:cxn>
              <a:cxn ang="0">
                <a:pos x="92" y="53"/>
              </a:cxn>
              <a:cxn ang="0">
                <a:pos x="98" y="57"/>
              </a:cxn>
              <a:cxn ang="0">
                <a:pos x="100" y="37"/>
              </a:cxn>
              <a:cxn ang="0">
                <a:pos x="82" y="45"/>
              </a:cxn>
              <a:cxn ang="0">
                <a:pos x="86" y="49"/>
              </a:cxn>
              <a:cxn ang="0">
                <a:pos x="73" y="64"/>
              </a:cxn>
              <a:cxn ang="0">
                <a:pos x="70" y="64"/>
              </a:cxn>
              <a:cxn ang="0">
                <a:pos x="65" y="66"/>
              </a:cxn>
              <a:cxn ang="0">
                <a:pos x="40" y="57"/>
              </a:cxn>
              <a:cxn ang="0">
                <a:pos x="32" y="50"/>
              </a:cxn>
              <a:cxn ang="0">
                <a:pos x="24" y="58"/>
              </a:cxn>
              <a:cxn ang="0">
                <a:pos x="24" y="59"/>
              </a:cxn>
              <a:cxn ang="0">
                <a:pos x="13" y="66"/>
              </a:cxn>
              <a:cxn ang="0">
                <a:pos x="13" y="75"/>
              </a:cxn>
              <a:cxn ang="0">
                <a:pos x="28" y="65"/>
              </a:cxn>
              <a:cxn ang="0">
                <a:pos x="32" y="67"/>
              </a:cxn>
              <a:cxn ang="0">
                <a:pos x="7" y="96"/>
              </a:cxn>
              <a:cxn ang="0">
                <a:pos x="7" y="96"/>
              </a:cxn>
              <a:cxn ang="0">
                <a:pos x="7" y="96"/>
              </a:cxn>
              <a:cxn ang="0">
                <a:pos x="7" y="0"/>
              </a:cxn>
              <a:cxn ang="0">
                <a:pos x="0" y="0"/>
              </a:cxn>
              <a:cxn ang="0">
                <a:pos x="0" y="103"/>
              </a:cxn>
              <a:cxn ang="0">
                <a:pos x="102" y="103"/>
              </a:cxn>
              <a:cxn ang="0">
                <a:pos x="102" y="96"/>
              </a:cxn>
              <a:cxn ang="0">
                <a:pos x="7" y="96"/>
              </a:cxn>
            </a:cxnLst>
            <a:rect l="0" t="0" r="r" b="b"/>
            <a:pathLst>
              <a:path w="102" h="103">
                <a:moveTo>
                  <a:pt x="32" y="37"/>
                </a:moveTo>
                <a:cubicBezTo>
                  <a:pt x="34" y="37"/>
                  <a:pt x="36" y="36"/>
                  <a:pt x="37" y="35"/>
                </a:cubicBezTo>
                <a:cubicBezTo>
                  <a:pt x="50" y="43"/>
                  <a:pt x="50" y="43"/>
                  <a:pt x="50" y="43"/>
                </a:cubicBezTo>
                <a:cubicBezTo>
                  <a:pt x="50" y="44"/>
                  <a:pt x="50" y="44"/>
                  <a:pt x="50" y="44"/>
                </a:cubicBezTo>
                <a:cubicBezTo>
                  <a:pt x="50" y="49"/>
                  <a:pt x="54" y="52"/>
                  <a:pt x="59" y="52"/>
                </a:cubicBezTo>
                <a:cubicBezTo>
                  <a:pt x="63" y="52"/>
                  <a:pt x="67" y="49"/>
                  <a:pt x="67" y="44"/>
                </a:cubicBezTo>
                <a:cubicBezTo>
                  <a:pt x="67" y="43"/>
                  <a:pt x="67" y="42"/>
                  <a:pt x="67" y="41"/>
                </a:cubicBezTo>
                <a:cubicBezTo>
                  <a:pt x="82" y="24"/>
                  <a:pt x="82" y="24"/>
                  <a:pt x="82" y="24"/>
                </a:cubicBezTo>
                <a:cubicBezTo>
                  <a:pt x="91" y="32"/>
                  <a:pt x="91" y="32"/>
                  <a:pt x="91" y="32"/>
                </a:cubicBezTo>
                <a:cubicBezTo>
                  <a:pt x="97" y="3"/>
                  <a:pt x="97" y="3"/>
                  <a:pt x="97" y="3"/>
                </a:cubicBezTo>
                <a:cubicBezTo>
                  <a:pt x="68" y="12"/>
                  <a:pt x="68" y="12"/>
                  <a:pt x="68" y="12"/>
                </a:cubicBezTo>
                <a:cubicBezTo>
                  <a:pt x="77" y="19"/>
                  <a:pt x="77" y="19"/>
                  <a:pt x="77" y="19"/>
                </a:cubicBezTo>
                <a:cubicBezTo>
                  <a:pt x="61" y="36"/>
                  <a:pt x="61" y="36"/>
                  <a:pt x="61" y="36"/>
                </a:cubicBezTo>
                <a:cubicBezTo>
                  <a:pt x="60" y="36"/>
                  <a:pt x="60" y="36"/>
                  <a:pt x="59" y="36"/>
                </a:cubicBezTo>
                <a:cubicBezTo>
                  <a:pt x="57" y="36"/>
                  <a:pt x="55" y="36"/>
                  <a:pt x="54" y="3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29"/>
                  <a:pt x="40" y="28"/>
                  <a:pt x="40" y="28"/>
                </a:cubicBezTo>
                <a:cubicBezTo>
                  <a:pt x="40" y="24"/>
                  <a:pt x="37" y="20"/>
                  <a:pt x="32" y="20"/>
                </a:cubicBezTo>
                <a:cubicBezTo>
                  <a:pt x="27" y="20"/>
                  <a:pt x="24" y="24"/>
                  <a:pt x="24" y="28"/>
                </a:cubicBezTo>
                <a:cubicBezTo>
                  <a:pt x="24" y="29"/>
                  <a:pt x="24" y="30"/>
                  <a:pt x="24" y="31"/>
                </a:cubicBezTo>
                <a:cubicBezTo>
                  <a:pt x="13" y="41"/>
                  <a:pt x="13" y="41"/>
                  <a:pt x="13" y="41"/>
                </a:cubicBezTo>
                <a:cubicBezTo>
                  <a:pt x="13" y="51"/>
                  <a:pt x="13" y="51"/>
                  <a:pt x="13" y="51"/>
                </a:cubicBezTo>
                <a:cubicBezTo>
                  <a:pt x="29" y="36"/>
                  <a:pt x="29" y="36"/>
                  <a:pt x="29" y="36"/>
                </a:cubicBezTo>
                <a:cubicBezTo>
                  <a:pt x="30" y="37"/>
                  <a:pt x="31" y="37"/>
                  <a:pt x="32" y="37"/>
                </a:cubicBezTo>
                <a:close/>
                <a:moveTo>
                  <a:pt x="32" y="67"/>
                </a:moveTo>
                <a:cubicBezTo>
                  <a:pt x="34" y="67"/>
                  <a:pt x="37" y="66"/>
                  <a:pt x="38" y="64"/>
                </a:cubicBezTo>
                <a:cubicBezTo>
                  <a:pt x="62" y="73"/>
                  <a:pt x="62" y="73"/>
                  <a:pt x="62" y="73"/>
                </a:cubicBezTo>
                <a:cubicBezTo>
                  <a:pt x="63" y="78"/>
                  <a:pt x="66" y="81"/>
                  <a:pt x="70" y="81"/>
                </a:cubicBezTo>
                <a:cubicBezTo>
                  <a:pt x="75" y="81"/>
                  <a:pt x="79" y="77"/>
                  <a:pt x="79" y="73"/>
                </a:cubicBezTo>
                <a:cubicBezTo>
                  <a:pt x="79" y="71"/>
                  <a:pt x="79" y="70"/>
                  <a:pt x="78" y="69"/>
                </a:cubicBezTo>
                <a:cubicBezTo>
                  <a:pt x="92" y="53"/>
                  <a:pt x="92" y="53"/>
                  <a:pt x="92" y="53"/>
                </a:cubicBezTo>
                <a:cubicBezTo>
                  <a:pt x="98" y="57"/>
                  <a:pt x="98" y="57"/>
                  <a:pt x="98" y="5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82" y="45"/>
                  <a:pt x="82" y="45"/>
                  <a:pt x="82" y="45"/>
                </a:cubicBezTo>
                <a:cubicBezTo>
                  <a:pt x="86" y="49"/>
                  <a:pt x="86" y="49"/>
                  <a:pt x="86" y="49"/>
                </a:cubicBezTo>
                <a:cubicBezTo>
                  <a:pt x="73" y="64"/>
                  <a:pt x="73" y="64"/>
                  <a:pt x="73" y="64"/>
                </a:cubicBezTo>
                <a:cubicBezTo>
                  <a:pt x="72" y="64"/>
                  <a:pt x="71" y="64"/>
                  <a:pt x="70" y="64"/>
                </a:cubicBezTo>
                <a:cubicBezTo>
                  <a:pt x="68" y="64"/>
                  <a:pt x="66" y="65"/>
                  <a:pt x="65" y="66"/>
                </a:cubicBezTo>
                <a:cubicBezTo>
                  <a:pt x="40" y="57"/>
                  <a:pt x="40" y="57"/>
                  <a:pt x="40" y="57"/>
                </a:cubicBezTo>
                <a:cubicBezTo>
                  <a:pt x="40" y="53"/>
                  <a:pt x="36" y="50"/>
                  <a:pt x="32" y="50"/>
                </a:cubicBezTo>
                <a:cubicBezTo>
                  <a:pt x="27" y="50"/>
                  <a:pt x="24" y="54"/>
                  <a:pt x="24" y="58"/>
                </a:cubicBezTo>
                <a:cubicBezTo>
                  <a:pt x="24" y="59"/>
                  <a:pt x="24" y="59"/>
                  <a:pt x="24" y="59"/>
                </a:cubicBezTo>
                <a:cubicBezTo>
                  <a:pt x="13" y="66"/>
                  <a:pt x="13" y="66"/>
                  <a:pt x="13" y="66"/>
                </a:cubicBezTo>
                <a:cubicBezTo>
                  <a:pt x="13" y="75"/>
                  <a:pt x="13" y="75"/>
                  <a:pt x="13" y="75"/>
                </a:cubicBezTo>
                <a:cubicBezTo>
                  <a:pt x="28" y="65"/>
                  <a:pt x="28" y="65"/>
                  <a:pt x="28" y="65"/>
                </a:cubicBezTo>
                <a:cubicBezTo>
                  <a:pt x="29" y="66"/>
                  <a:pt x="30" y="67"/>
                  <a:pt x="32" y="67"/>
                </a:cubicBezTo>
                <a:close/>
                <a:moveTo>
                  <a:pt x="7" y="96"/>
                </a:moveTo>
                <a:cubicBezTo>
                  <a:pt x="7" y="96"/>
                  <a:pt x="7" y="96"/>
                  <a:pt x="7" y="96"/>
                </a:cubicBezTo>
                <a:cubicBezTo>
                  <a:pt x="7" y="96"/>
                  <a:pt x="7" y="96"/>
                  <a:pt x="7" y="96"/>
                </a:cubicBezTo>
                <a:cubicBezTo>
                  <a:pt x="7" y="0"/>
                  <a:pt x="7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3"/>
                  <a:pt x="0" y="103"/>
                  <a:pt x="0" y="103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2" y="96"/>
                  <a:pt x="102" y="96"/>
                  <a:pt x="102" y="96"/>
                </a:cubicBezTo>
                <a:lnTo>
                  <a:pt x="7" y="96"/>
                </a:lnTo>
                <a:close/>
              </a:path>
            </a:pathLst>
          </a:custGeom>
          <a:solidFill>
            <a:srgbClr val="C41300"/>
          </a:solidFill>
          <a:ln w="9525">
            <a:solidFill>
              <a:srgbClr val="C413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0" name="Freeform 45"/>
          <p:cNvSpPr>
            <a:spLocks noChangeAspect="1" noEditPoints="1"/>
          </p:cNvSpPr>
          <p:nvPr/>
        </p:nvSpPr>
        <p:spPr bwMode="auto">
          <a:xfrm>
            <a:off x="7924800" y="2801423"/>
            <a:ext cx="391908" cy="391908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rgbClr val="DCC05A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1" name="TextColumnContent"/>
          <p:cNvSpPr>
            <a:spLocks noChangeArrowheads="1"/>
          </p:cNvSpPr>
          <p:nvPr/>
        </p:nvSpPr>
        <p:spPr bwMode="gray">
          <a:xfrm>
            <a:off x="8363000" y="2743200"/>
            <a:ext cx="2069431" cy="62593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solidFill>
                  <a:srgbClr val="000000"/>
                </a:solidFill>
                <a:latin typeface="Arial "/>
              </a:rPr>
              <a:t>Rapid deployment – fully functional in &lt;6 weeks</a:t>
            </a:r>
          </a:p>
        </p:txBody>
      </p:sp>
      <p:grpSp>
        <p:nvGrpSpPr>
          <p:cNvPr id="3" name="Group 128"/>
          <p:cNvGrpSpPr/>
          <p:nvPr/>
        </p:nvGrpSpPr>
        <p:grpSpPr>
          <a:xfrm>
            <a:off x="7924801" y="4171592"/>
            <a:ext cx="405119" cy="340544"/>
            <a:chOff x="7022650" y="5904633"/>
            <a:chExt cx="392719" cy="340544"/>
          </a:xfrm>
        </p:grpSpPr>
        <p:sp>
          <p:nvSpPr>
            <p:cNvPr id="80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2" name="Rounded Rectangle 81"/>
          <p:cNvSpPr/>
          <p:nvPr/>
        </p:nvSpPr>
        <p:spPr>
          <a:xfrm>
            <a:off x="2044561" y="6031857"/>
            <a:ext cx="8202519" cy="608095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DCC05A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3" name="TextColumnContent"/>
          <p:cNvSpPr>
            <a:spLocks noChangeArrowheads="1"/>
          </p:cNvSpPr>
          <p:nvPr/>
        </p:nvSpPr>
        <p:spPr bwMode="gray">
          <a:xfrm>
            <a:off x="3124200" y="6103034"/>
            <a:ext cx="7140750" cy="526366"/>
          </a:xfrm>
          <a:prstGeom prst="rect">
            <a:avLst/>
          </a:prstGeom>
          <a:noFill/>
          <a:ln w="1587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84406"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dirty="0"/>
              <a:t>We don’t need to go to Hyderabad for everything, we have a high quality specialized service here near our doorstep"; </a:t>
            </a:r>
            <a:r>
              <a:rPr lang="en-US" sz="1400" i="1" dirty="0"/>
              <a:t>"I am happy now as I am improving after 3 years….. Wish I was able to get treated like this before” ; </a:t>
            </a:r>
            <a:r>
              <a:rPr lang="en-US" sz="1292" b="1" dirty="0">
                <a:solidFill>
                  <a:srgbClr val="000000"/>
                </a:solidFill>
              </a:rPr>
              <a:t>		                                                          </a:t>
            </a:r>
          </a:p>
          <a:p>
            <a:pPr>
              <a:lnSpc>
                <a:spcPct val="90000"/>
              </a:lnSpc>
            </a:pPr>
            <a:r>
              <a:rPr lang="en-US" sz="1292" b="1" dirty="0">
                <a:solidFill>
                  <a:srgbClr val="000000"/>
                </a:solidFill>
              </a:rPr>
              <a:t>						 - Patient feedback</a:t>
            </a:r>
          </a:p>
        </p:txBody>
      </p:sp>
      <p:sp>
        <p:nvSpPr>
          <p:cNvPr id="84" name="Rectangle 83"/>
          <p:cNvSpPr/>
          <p:nvPr/>
        </p:nvSpPr>
        <p:spPr>
          <a:xfrm>
            <a:off x="1828801" y="6043886"/>
            <a:ext cx="1260483" cy="280714"/>
          </a:xfrm>
          <a:prstGeom prst="rect">
            <a:avLst/>
          </a:prstGeom>
          <a:solidFill>
            <a:srgbClr val="B48900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83077" tIns="0" rIns="0" bIns="0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Testimonial</a:t>
            </a:r>
          </a:p>
        </p:txBody>
      </p:sp>
      <p:pic>
        <p:nvPicPr>
          <p:cNvPr id="88" name="Picture 554" descr="stock-vector-thumbs-up-thumbs-down-13918513"/>
          <p:cNvPicPr>
            <a:picLocks noChangeAspect="1" noChangeArrowheads="1"/>
          </p:cNvPicPr>
          <p:nvPr/>
        </p:nvPicPr>
        <p:blipFill>
          <a:blip r:embed="rId4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6115" t="4104" r="22951" b="55852"/>
          <a:stretch>
            <a:fillRect/>
          </a:stretch>
        </p:blipFill>
        <p:spPr bwMode="auto">
          <a:xfrm>
            <a:off x="8001000" y="5393699"/>
            <a:ext cx="337828" cy="369332"/>
          </a:xfrm>
          <a:prstGeom prst="rect">
            <a:avLst/>
          </a:prstGeom>
          <a:noFill/>
        </p:spPr>
      </p:pic>
      <p:sp>
        <p:nvSpPr>
          <p:cNvPr id="78" name="TextColumnContent"/>
          <p:cNvSpPr>
            <a:spLocks noChangeArrowheads="1"/>
          </p:cNvSpPr>
          <p:nvPr/>
        </p:nvSpPr>
        <p:spPr bwMode="gray">
          <a:xfrm>
            <a:off x="8362999" y="4938056"/>
            <a:ext cx="1943100" cy="2340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</a:rPr>
              <a:t>Reduced cost of care</a:t>
            </a:r>
            <a:endParaRPr lang="en-US" sz="1400" b="1" spc="-20" dirty="0">
              <a:solidFill>
                <a:srgbClr val="000000"/>
              </a:solidFill>
              <a:latin typeface="Arial "/>
            </a:endParaRPr>
          </a:p>
        </p:txBody>
      </p:sp>
      <p:grpSp>
        <p:nvGrpSpPr>
          <p:cNvPr id="79" name="Group 150"/>
          <p:cNvGrpSpPr>
            <a:grpSpLocks noChangeAspect="1"/>
          </p:cNvGrpSpPr>
          <p:nvPr/>
        </p:nvGrpSpPr>
        <p:grpSpPr>
          <a:xfrm>
            <a:off x="7926230" y="4876800"/>
            <a:ext cx="412599" cy="371568"/>
            <a:chOff x="11257543" y="2117339"/>
            <a:chExt cx="486036" cy="437702"/>
          </a:xfrm>
          <a:solidFill>
            <a:schemeClr val="bg1">
              <a:lumMod val="50000"/>
            </a:schemeClr>
          </a:solidFill>
        </p:grpSpPr>
        <p:sp>
          <p:nvSpPr>
            <p:cNvPr id="85" name="Freeform 8"/>
            <p:cNvSpPr>
              <a:spLocks/>
            </p:cNvSpPr>
            <p:nvPr/>
          </p:nvSpPr>
          <p:spPr bwMode="auto">
            <a:xfrm>
              <a:off x="11257543" y="2369219"/>
              <a:ext cx="486036" cy="185822"/>
            </a:xfrm>
            <a:custGeom>
              <a:avLst/>
              <a:gdLst/>
              <a:ahLst/>
              <a:cxnLst>
                <a:cxn ang="0">
                  <a:pos x="464" y="137"/>
                </a:cxn>
                <a:cxn ang="0">
                  <a:pos x="542" y="172"/>
                </a:cxn>
                <a:cxn ang="0">
                  <a:pos x="628" y="152"/>
                </a:cxn>
                <a:cxn ang="0">
                  <a:pos x="686" y="81"/>
                </a:cxn>
                <a:cxn ang="0">
                  <a:pos x="730" y="51"/>
                </a:cxn>
                <a:cxn ang="0">
                  <a:pos x="760" y="78"/>
                </a:cxn>
                <a:cxn ang="0">
                  <a:pos x="726" y="177"/>
                </a:cxn>
                <a:cxn ang="0">
                  <a:pos x="559" y="284"/>
                </a:cxn>
                <a:cxn ang="0">
                  <a:pos x="320" y="265"/>
                </a:cxn>
                <a:cxn ang="0">
                  <a:pos x="159" y="272"/>
                </a:cxn>
                <a:cxn ang="0">
                  <a:pos x="96" y="256"/>
                </a:cxn>
                <a:cxn ang="0">
                  <a:pos x="0" y="160"/>
                </a:cxn>
                <a:cxn ang="0">
                  <a:pos x="188" y="29"/>
                </a:cxn>
                <a:cxn ang="0">
                  <a:pos x="311" y="12"/>
                </a:cxn>
                <a:cxn ang="0">
                  <a:pos x="542" y="35"/>
                </a:cxn>
                <a:cxn ang="0">
                  <a:pos x="592" y="61"/>
                </a:cxn>
                <a:cxn ang="0">
                  <a:pos x="576" y="112"/>
                </a:cxn>
                <a:cxn ang="0">
                  <a:pos x="485" y="131"/>
                </a:cxn>
                <a:cxn ang="0">
                  <a:pos x="464" y="132"/>
                </a:cxn>
                <a:cxn ang="0">
                  <a:pos x="464" y="137"/>
                </a:cxn>
              </a:cxnLst>
              <a:rect l="0" t="0" r="r" b="b"/>
              <a:pathLst>
                <a:path w="766" h="293">
                  <a:moveTo>
                    <a:pt x="464" y="137"/>
                  </a:moveTo>
                  <a:cubicBezTo>
                    <a:pt x="490" y="148"/>
                    <a:pt x="516" y="160"/>
                    <a:pt x="542" y="172"/>
                  </a:cubicBezTo>
                  <a:cubicBezTo>
                    <a:pt x="575" y="186"/>
                    <a:pt x="604" y="179"/>
                    <a:pt x="628" y="152"/>
                  </a:cubicBezTo>
                  <a:cubicBezTo>
                    <a:pt x="648" y="129"/>
                    <a:pt x="665" y="103"/>
                    <a:pt x="686" y="81"/>
                  </a:cubicBezTo>
                  <a:cubicBezTo>
                    <a:pt x="698" y="69"/>
                    <a:pt x="714" y="58"/>
                    <a:pt x="730" y="51"/>
                  </a:cubicBezTo>
                  <a:cubicBezTo>
                    <a:pt x="752" y="42"/>
                    <a:pt x="766" y="54"/>
                    <a:pt x="760" y="78"/>
                  </a:cubicBezTo>
                  <a:cubicBezTo>
                    <a:pt x="751" y="111"/>
                    <a:pt x="740" y="145"/>
                    <a:pt x="726" y="177"/>
                  </a:cubicBezTo>
                  <a:cubicBezTo>
                    <a:pt x="694" y="248"/>
                    <a:pt x="634" y="276"/>
                    <a:pt x="559" y="284"/>
                  </a:cubicBezTo>
                  <a:cubicBezTo>
                    <a:pt x="478" y="293"/>
                    <a:pt x="399" y="275"/>
                    <a:pt x="320" y="265"/>
                  </a:cubicBezTo>
                  <a:cubicBezTo>
                    <a:pt x="266" y="258"/>
                    <a:pt x="210" y="249"/>
                    <a:pt x="159" y="272"/>
                  </a:cubicBezTo>
                  <a:cubicBezTo>
                    <a:pt x="129" y="285"/>
                    <a:pt x="114" y="277"/>
                    <a:pt x="96" y="256"/>
                  </a:cubicBezTo>
                  <a:cubicBezTo>
                    <a:pt x="66" y="223"/>
                    <a:pt x="33" y="193"/>
                    <a:pt x="0" y="160"/>
                  </a:cubicBezTo>
                  <a:cubicBezTo>
                    <a:pt x="63" y="115"/>
                    <a:pt x="124" y="70"/>
                    <a:pt x="188" y="29"/>
                  </a:cubicBezTo>
                  <a:cubicBezTo>
                    <a:pt x="225" y="5"/>
                    <a:pt x="268" y="0"/>
                    <a:pt x="311" y="12"/>
                  </a:cubicBezTo>
                  <a:cubicBezTo>
                    <a:pt x="387" y="32"/>
                    <a:pt x="463" y="41"/>
                    <a:pt x="542" y="35"/>
                  </a:cubicBezTo>
                  <a:cubicBezTo>
                    <a:pt x="563" y="34"/>
                    <a:pt x="581" y="41"/>
                    <a:pt x="592" y="61"/>
                  </a:cubicBezTo>
                  <a:cubicBezTo>
                    <a:pt x="603" y="81"/>
                    <a:pt x="598" y="105"/>
                    <a:pt x="576" y="112"/>
                  </a:cubicBezTo>
                  <a:cubicBezTo>
                    <a:pt x="546" y="121"/>
                    <a:pt x="515" y="125"/>
                    <a:pt x="485" y="131"/>
                  </a:cubicBezTo>
                  <a:cubicBezTo>
                    <a:pt x="478" y="132"/>
                    <a:pt x="471" y="132"/>
                    <a:pt x="464" y="132"/>
                  </a:cubicBezTo>
                  <a:cubicBezTo>
                    <a:pt x="464" y="134"/>
                    <a:pt x="464" y="135"/>
                    <a:pt x="464" y="1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9"/>
            <p:cNvSpPr>
              <a:spLocks/>
            </p:cNvSpPr>
            <p:nvPr/>
          </p:nvSpPr>
          <p:spPr bwMode="auto">
            <a:xfrm>
              <a:off x="11371667" y="2117339"/>
              <a:ext cx="370569" cy="359829"/>
            </a:xfrm>
            <a:custGeom>
              <a:avLst/>
              <a:gdLst/>
              <a:ahLst/>
              <a:cxnLst>
                <a:cxn ang="0">
                  <a:pos x="347" y="543"/>
                </a:cxn>
                <a:cxn ang="0">
                  <a:pos x="401" y="525"/>
                </a:cxn>
                <a:cxn ang="0">
                  <a:pos x="410" y="430"/>
                </a:cxn>
                <a:cxn ang="0">
                  <a:pos x="399" y="403"/>
                </a:cxn>
                <a:cxn ang="0">
                  <a:pos x="341" y="301"/>
                </a:cxn>
                <a:cxn ang="0">
                  <a:pos x="298" y="284"/>
                </a:cxn>
                <a:cxn ang="0">
                  <a:pos x="294" y="236"/>
                </a:cxn>
                <a:cxn ang="0">
                  <a:pos x="295" y="176"/>
                </a:cxn>
                <a:cxn ang="0">
                  <a:pos x="296" y="172"/>
                </a:cxn>
                <a:cxn ang="0">
                  <a:pos x="355" y="225"/>
                </a:cxn>
                <a:cxn ang="0">
                  <a:pos x="392" y="225"/>
                </a:cxn>
                <a:cxn ang="0">
                  <a:pos x="317" y="137"/>
                </a:cxn>
                <a:cxn ang="0">
                  <a:pos x="294" y="112"/>
                </a:cxn>
                <a:cxn ang="0">
                  <a:pos x="293" y="103"/>
                </a:cxn>
                <a:cxn ang="0">
                  <a:pos x="275" y="103"/>
                </a:cxn>
                <a:cxn ang="0">
                  <a:pos x="274" y="114"/>
                </a:cxn>
                <a:cxn ang="0">
                  <a:pos x="255" y="137"/>
                </a:cxn>
                <a:cxn ang="0">
                  <a:pos x="173" y="223"/>
                </a:cxn>
                <a:cxn ang="0">
                  <a:pos x="246" y="316"/>
                </a:cxn>
                <a:cxn ang="0">
                  <a:pos x="274" y="353"/>
                </a:cxn>
                <a:cxn ang="0">
                  <a:pos x="274" y="417"/>
                </a:cxn>
                <a:cxn ang="0">
                  <a:pos x="220" y="411"/>
                </a:cxn>
                <a:cxn ang="0">
                  <a:pos x="210" y="399"/>
                </a:cxn>
                <a:cxn ang="0">
                  <a:pos x="179" y="376"/>
                </a:cxn>
                <a:cxn ang="0">
                  <a:pos x="166" y="377"/>
                </a:cxn>
                <a:cxn ang="0">
                  <a:pos x="168" y="398"/>
                </a:cxn>
                <a:cxn ang="0">
                  <a:pos x="22" y="402"/>
                </a:cxn>
                <a:cxn ang="0">
                  <a:pos x="46" y="182"/>
                </a:cxn>
                <a:cxn ang="0">
                  <a:pos x="455" y="105"/>
                </a:cxn>
                <a:cxn ang="0">
                  <a:pos x="535" y="427"/>
                </a:cxn>
                <a:cxn ang="0">
                  <a:pos x="530" y="436"/>
                </a:cxn>
                <a:cxn ang="0">
                  <a:pos x="442" y="532"/>
                </a:cxn>
                <a:cxn ang="0">
                  <a:pos x="347" y="543"/>
                </a:cxn>
              </a:cxnLst>
              <a:rect l="0" t="0" r="r" b="b"/>
              <a:pathLst>
                <a:path w="584" h="567">
                  <a:moveTo>
                    <a:pt x="347" y="543"/>
                  </a:moveTo>
                  <a:cubicBezTo>
                    <a:pt x="366" y="537"/>
                    <a:pt x="384" y="532"/>
                    <a:pt x="401" y="525"/>
                  </a:cubicBezTo>
                  <a:cubicBezTo>
                    <a:pt x="445" y="509"/>
                    <a:pt x="442" y="452"/>
                    <a:pt x="410" y="430"/>
                  </a:cubicBezTo>
                  <a:cubicBezTo>
                    <a:pt x="397" y="422"/>
                    <a:pt x="396" y="415"/>
                    <a:pt x="399" y="403"/>
                  </a:cubicBezTo>
                  <a:cubicBezTo>
                    <a:pt x="409" y="353"/>
                    <a:pt x="389" y="319"/>
                    <a:pt x="341" y="301"/>
                  </a:cubicBezTo>
                  <a:cubicBezTo>
                    <a:pt x="326" y="296"/>
                    <a:pt x="305" y="295"/>
                    <a:pt x="298" y="284"/>
                  </a:cubicBezTo>
                  <a:cubicBezTo>
                    <a:pt x="290" y="272"/>
                    <a:pt x="295" y="252"/>
                    <a:pt x="294" y="236"/>
                  </a:cubicBezTo>
                  <a:cubicBezTo>
                    <a:pt x="294" y="216"/>
                    <a:pt x="295" y="196"/>
                    <a:pt x="295" y="176"/>
                  </a:cubicBezTo>
                  <a:cubicBezTo>
                    <a:pt x="295" y="174"/>
                    <a:pt x="295" y="173"/>
                    <a:pt x="296" y="172"/>
                  </a:cubicBezTo>
                  <a:cubicBezTo>
                    <a:pt x="324" y="168"/>
                    <a:pt x="338" y="180"/>
                    <a:pt x="355" y="225"/>
                  </a:cubicBezTo>
                  <a:cubicBezTo>
                    <a:pt x="367" y="225"/>
                    <a:pt x="380" y="225"/>
                    <a:pt x="392" y="225"/>
                  </a:cubicBezTo>
                  <a:cubicBezTo>
                    <a:pt x="387" y="175"/>
                    <a:pt x="362" y="144"/>
                    <a:pt x="317" y="137"/>
                  </a:cubicBezTo>
                  <a:cubicBezTo>
                    <a:pt x="299" y="135"/>
                    <a:pt x="291" y="129"/>
                    <a:pt x="294" y="112"/>
                  </a:cubicBezTo>
                  <a:cubicBezTo>
                    <a:pt x="295" y="109"/>
                    <a:pt x="294" y="107"/>
                    <a:pt x="293" y="103"/>
                  </a:cubicBezTo>
                  <a:cubicBezTo>
                    <a:pt x="287" y="103"/>
                    <a:pt x="282" y="103"/>
                    <a:pt x="275" y="103"/>
                  </a:cubicBezTo>
                  <a:cubicBezTo>
                    <a:pt x="275" y="107"/>
                    <a:pt x="273" y="111"/>
                    <a:pt x="274" y="114"/>
                  </a:cubicBezTo>
                  <a:cubicBezTo>
                    <a:pt x="276" y="129"/>
                    <a:pt x="271" y="135"/>
                    <a:pt x="255" y="137"/>
                  </a:cubicBezTo>
                  <a:cubicBezTo>
                    <a:pt x="211" y="140"/>
                    <a:pt x="175" y="179"/>
                    <a:pt x="173" y="223"/>
                  </a:cubicBezTo>
                  <a:cubicBezTo>
                    <a:pt x="170" y="269"/>
                    <a:pt x="195" y="303"/>
                    <a:pt x="246" y="316"/>
                  </a:cubicBezTo>
                  <a:cubicBezTo>
                    <a:pt x="270" y="321"/>
                    <a:pt x="276" y="331"/>
                    <a:pt x="274" y="353"/>
                  </a:cubicBezTo>
                  <a:cubicBezTo>
                    <a:pt x="272" y="373"/>
                    <a:pt x="274" y="394"/>
                    <a:pt x="274" y="417"/>
                  </a:cubicBezTo>
                  <a:cubicBezTo>
                    <a:pt x="254" y="415"/>
                    <a:pt x="237" y="414"/>
                    <a:pt x="220" y="411"/>
                  </a:cubicBezTo>
                  <a:cubicBezTo>
                    <a:pt x="216" y="410"/>
                    <a:pt x="210" y="403"/>
                    <a:pt x="210" y="399"/>
                  </a:cubicBezTo>
                  <a:cubicBezTo>
                    <a:pt x="210" y="376"/>
                    <a:pt x="197" y="374"/>
                    <a:pt x="179" y="376"/>
                  </a:cubicBezTo>
                  <a:cubicBezTo>
                    <a:pt x="175" y="377"/>
                    <a:pt x="171" y="377"/>
                    <a:pt x="166" y="377"/>
                  </a:cubicBezTo>
                  <a:cubicBezTo>
                    <a:pt x="167" y="383"/>
                    <a:pt x="167" y="389"/>
                    <a:pt x="168" y="398"/>
                  </a:cubicBezTo>
                  <a:cubicBezTo>
                    <a:pt x="119" y="388"/>
                    <a:pt x="70" y="377"/>
                    <a:pt x="22" y="402"/>
                  </a:cubicBezTo>
                  <a:cubicBezTo>
                    <a:pt x="0" y="323"/>
                    <a:pt x="6" y="250"/>
                    <a:pt x="46" y="182"/>
                  </a:cubicBezTo>
                  <a:cubicBezTo>
                    <a:pt x="132" y="36"/>
                    <a:pt x="321" y="0"/>
                    <a:pt x="455" y="105"/>
                  </a:cubicBezTo>
                  <a:cubicBezTo>
                    <a:pt x="550" y="179"/>
                    <a:pt x="584" y="316"/>
                    <a:pt x="535" y="427"/>
                  </a:cubicBezTo>
                  <a:cubicBezTo>
                    <a:pt x="533" y="430"/>
                    <a:pt x="533" y="435"/>
                    <a:pt x="530" y="436"/>
                  </a:cubicBezTo>
                  <a:cubicBezTo>
                    <a:pt x="490" y="458"/>
                    <a:pt x="472" y="501"/>
                    <a:pt x="442" y="532"/>
                  </a:cubicBezTo>
                  <a:cubicBezTo>
                    <a:pt x="410" y="565"/>
                    <a:pt x="390" y="567"/>
                    <a:pt x="347" y="5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10"/>
            <p:cNvSpPr>
              <a:spLocks/>
            </p:cNvSpPr>
            <p:nvPr/>
          </p:nvSpPr>
          <p:spPr bwMode="auto">
            <a:xfrm>
              <a:off x="11506200" y="2224751"/>
              <a:ext cx="38668" cy="69549"/>
            </a:xfrm>
            <a:custGeom>
              <a:avLst/>
              <a:gdLst/>
              <a:ahLst/>
              <a:cxnLst>
                <a:cxn ang="0">
                  <a:pos x="61" y="1"/>
                </a:cxn>
                <a:cxn ang="0">
                  <a:pos x="61" y="110"/>
                </a:cxn>
                <a:cxn ang="0">
                  <a:pos x="1" y="55"/>
                </a:cxn>
                <a:cxn ang="0">
                  <a:pos x="61" y="1"/>
                </a:cxn>
              </a:cxnLst>
              <a:rect l="0" t="0" r="r" b="b"/>
              <a:pathLst>
                <a:path w="61" h="110">
                  <a:moveTo>
                    <a:pt x="61" y="1"/>
                  </a:moveTo>
                  <a:cubicBezTo>
                    <a:pt x="61" y="38"/>
                    <a:pt x="61" y="74"/>
                    <a:pt x="61" y="110"/>
                  </a:cubicBezTo>
                  <a:cubicBezTo>
                    <a:pt x="26" y="110"/>
                    <a:pt x="0" y="86"/>
                    <a:pt x="1" y="55"/>
                  </a:cubicBezTo>
                  <a:cubicBezTo>
                    <a:pt x="3" y="21"/>
                    <a:pt x="25" y="0"/>
                    <a:pt x="61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11"/>
            <p:cNvSpPr>
              <a:spLocks/>
            </p:cNvSpPr>
            <p:nvPr/>
          </p:nvSpPr>
          <p:spPr bwMode="auto">
            <a:xfrm>
              <a:off x="11558831" y="2327329"/>
              <a:ext cx="49678" cy="53974"/>
            </a:xfrm>
            <a:custGeom>
              <a:avLst/>
              <a:gdLst/>
              <a:ahLst/>
              <a:cxnLst>
                <a:cxn ang="0">
                  <a:pos x="60" y="81"/>
                </a:cxn>
                <a:cxn ang="0">
                  <a:pos x="0" y="85"/>
                </a:cxn>
                <a:cxn ang="0">
                  <a:pos x="1" y="0"/>
                </a:cxn>
                <a:cxn ang="0">
                  <a:pos x="60" y="81"/>
                </a:cxn>
              </a:cxnLst>
              <a:rect l="0" t="0" r="r" b="b"/>
              <a:pathLst>
                <a:path w="78" h="85">
                  <a:moveTo>
                    <a:pt x="60" y="81"/>
                  </a:moveTo>
                  <a:cubicBezTo>
                    <a:pt x="41" y="82"/>
                    <a:pt x="21" y="84"/>
                    <a:pt x="0" y="85"/>
                  </a:cubicBezTo>
                  <a:cubicBezTo>
                    <a:pt x="0" y="55"/>
                    <a:pt x="0" y="28"/>
                    <a:pt x="1" y="0"/>
                  </a:cubicBezTo>
                  <a:cubicBezTo>
                    <a:pt x="39" y="3"/>
                    <a:pt x="78" y="31"/>
                    <a:pt x="60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94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7690215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7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467" y="265238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4" name="Group 423"/>
          <p:cNvGrpSpPr/>
          <p:nvPr/>
        </p:nvGrpSpPr>
        <p:grpSpPr>
          <a:xfrm>
            <a:off x="9044676" y="1248505"/>
            <a:ext cx="510856" cy="586568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668" y="416905"/>
            <a:ext cx="7488406" cy="831600"/>
          </a:xfrm>
        </p:spPr>
        <p:txBody>
          <a:bodyPr/>
          <a:lstStyle/>
          <a:p>
            <a:r>
              <a:rPr lang="en-US" dirty="0"/>
              <a:t>India's first web based Urban Property Ownership Record (UPOR) system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1986812" y="2019304"/>
            <a:ext cx="2459077" cy="4206685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51642" y="2117456"/>
            <a:ext cx="2308237" cy="400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2024845" y="2610496"/>
            <a:ext cx="2384726" cy="24044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Urban land records maintained through City survey offices in the form of maps and sketche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Challenges in record archiving, retrieval and management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Lack of transparency in urban property management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820719" y="2019302"/>
            <a:ext cx="2738390" cy="4206686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30537" y="2117456"/>
            <a:ext cx="2308237" cy="400962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83077" rIns="9969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693719" y="2151210"/>
            <a:ext cx="2459077" cy="4127992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IN" sz="1292" dirty="0">
              <a:solidFill>
                <a:srgbClr val="000000"/>
              </a:solidFill>
              <a:cs typeface="Arial" pitchFamily="34" charset="0"/>
            </a:endParaRPr>
          </a:p>
          <a:p>
            <a:endParaRPr lang="en-IN" sz="1292" dirty="0">
              <a:solidFill>
                <a:srgbClr val="000000"/>
              </a:solidFill>
              <a:cs typeface="Arial" pitchFamily="34" charset="0"/>
            </a:endParaRPr>
          </a:p>
          <a:p>
            <a:endParaRPr lang="en-IN" sz="1292" dirty="0">
              <a:solidFill>
                <a:srgbClr val="000000"/>
              </a:solidFill>
              <a:cs typeface="Arial" pitchFamily="34" charset="0"/>
            </a:endParaRPr>
          </a:p>
          <a:p>
            <a:endParaRPr lang="en-IN" sz="1292" dirty="0">
              <a:solidFill>
                <a:srgbClr val="000000"/>
              </a:solidFill>
              <a:cs typeface="Arial" pitchFamily="34" charset="0"/>
            </a:endParaRPr>
          </a:p>
          <a:p>
            <a:endParaRPr lang="en-IN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09432" y="2117456"/>
            <a:ext cx="2308237" cy="400962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Impact/ Value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948965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827859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706754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827856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706750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948960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807740" y="1362430"/>
            <a:ext cx="926132" cy="3077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948963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99692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IN" sz="1100" b="1" dirty="0">
                <a:solidFill>
                  <a:srgbClr val="000000"/>
                </a:solidFill>
                <a:cs typeface="Arial" pitchFamily="34" charset="0"/>
              </a:rPr>
              <a:t>Government of 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IN" sz="1100" b="1" dirty="0">
                <a:solidFill>
                  <a:srgbClr val="000000"/>
                </a:solidFill>
                <a:cs typeface="Arial" pitchFamily="34" charset="0"/>
              </a:rPr>
              <a:t>Karnataka</a:t>
            </a: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827858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cs typeface="Arial" pitchFamily="34" charset="0"/>
              </a:rPr>
              <a:t>Government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dirty="0">
                <a:solidFill>
                  <a:srgbClr val="000000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706752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866225" y="2518418"/>
            <a:ext cx="2708599" cy="24044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</a:pPr>
            <a:endParaRPr lang="en-IN" sz="1300" b="1" dirty="0">
              <a:solidFill>
                <a:srgbClr val="000000"/>
              </a:solidFill>
              <a:cs typeface="Arial" pitchFamily="34" charset="0"/>
            </a:endParaRP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Creation of a web based Urban Property Ownership Record system  using modern survey and geo-spatial technologie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Property details contain both the building and the land on which the building stands including spatial details, area of the land, rights of the property and history of transaction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Mutations and changes certified through PKI mechanism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Updation and management of property record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Setting up of data </a:t>
            </a:r>
            <a:r>
              <a:rPr lang="en-IN" sz="1300" dirty="0" err="1">
                <a:solidFill>
                  <a:srgbClr val="000000"/>
                </a:solidFill>
                <a:cs typeface="Arial" pitchFamily="34" charset="0"/>
              </a:rPr>
              <a:t>centers</a:t>
            </a: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 and data recovery </a:t>
            </a:r>
            <a:r>
              <a:rPr lang="en-IN" sz="1300" dirty="0" err="1">
                <a:solidFill>
                  <a:srgbClr val="000000"/>
                </a:solidFill>
                <a:cs typeface="Arial" pitchFamily="34" charset="0"/>
              </a:rPr>
              <a:t>centers</a:t>
            </a: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 in </a:t>
            </a:r>
            <a:r>
              <a:rPr lang="en-IN" sz="1300" dirty="0" smtClean="0">
                <a:solidFill>
                  <a:srgbClr val="000000"/>
                </a:solidFill>
                <a:cs typeface="Arial" pitchFamily="34" charset="0"/>
              </a:rPr>
              <a:t>districts</a:t>
            </a: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</p:txBody>
      </p:sp>
      <p:pic>
        <p:nvPicPr>
          <p:cNvPr id="65" name="Picture 70"/>
          <p:cNvPicPr>
            <a:picLocks noChangeAspect="1" noChangeArrowheads="1"/>
          </p:cNvPicPr>
          <p:nvPr/>
        </p:nvPicPr>
        <p:blipFill>
          <a:blip r:embed="rId40" cstate="print"/>
          <a:srcRect l="1523" t="23974" r="85575" b="70802"/>
          <a:stretch>
            <a:fillRect/>
          </a:stretch>
        </p:blipFill>
        <p:spPr bwMode="auto">
          <a:xfrm>
            <a:off x="10594673" y="932004"/>
            <a:ext cx="1310185" cy="29825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TextColumnContent"/>
          <p:cNvSpPr>
            <a:spLocks noChangeArrowheads="1"/>
          </p:cNvSpPr>
          <p:nvPr/>
        </p:nvSpPr>
        <p:spPr bwMode="gray">
          <a:xfrm>
            <a:off x="8267700" y="2590800"/>
            <a:ext cx="1943100" cy="62593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latin typeface="Arial "/>
              </a:rPr>
              <a:t>Single window and automated interface for property records</a:t>
            </a:r>
          </a:p>
        </p:txBody>
      </p:sp>
      <p:sp>
        <p:nvSpPr>
          <p:cNvPr id="75" name="TextColumnContent"/>
          <p:cNvSpPr>
            <a:spLocks noChangeArrowheads="1"/>
          </p:cNvSpPr>
          <p:nvPr/>
        </p:nvSpPr>
        <p:spPr bwMode="gray">
          <a:xfrm>
            <a:off x="8267700" y="5154882"/>
            <a:ext cx="1943100" cy="95265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54000" tIns="54000" rIns="18000" bIns="3600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Absolute transparency in urban property management and administration</a:t>
            </a:r>
          </a:p>
        </p:txBody>
      </p:sp>
      <p:sp>
        <p:nvSpPr>
          <p:cNvPr id="76" name="TextColumnContent"/>
          <p:cNvSpPr>
            <a:spLocks noChangeArrowheads="1"/>
          </p:cNvSpPr>
          <p:nvPr/>
        </p:nvSpPr>
        <p:spPr bwMode="gray">
          <a:xfrm>
            <a:off x="8267700" y="3432978"/>
            <a:ext cx="1943100" cy="62930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latin typeface="Arial "/>
              </a:rPr>
              <a:t>Faster and effective citizen services related to property ownership</a:t>
            </a:r>
          </a:p>
        </p:txBody>
      </p:sp>
      <p:sp>
        <p:nvSpPr>
          <p:cNvPr id="77" name="TextColumnContent"/>
          <p:cNvSpPr>
            <a:spLocks noChangeArrowheads="1"/>
          </p:cNvSpPr>
          <p:nvPr/>
        </p:nvSpPr>
        <p:spPr bwMode="gray">
          <a:xfrm>
            <a:off x="8267700" y="4354934"/>
            <a:ext cx="1943100" cy="6601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54000" tIns="54000" rIns="18000" bIns="3600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 spc="-20" dirty="0">
                <a:latin typeface="Arial "/>
              </a:rPr>
              <a:t>Sustainable PPP model, based on revenue sharing</a:t>
            </a:r>
          </a:p>
        </p:txBody>
      </p:sp>
      <p:sp>
        <p:nvSpPr>
          <p:cNvPr id="78" name="Freeform 45"/>
          <p:cNvSpPr>
            <a:spLocks noChangeAspect="1" noEditPoints="1"/>
          </p:cNvSpPr>
          <p:nvPr/>
        </p:nvSpPr>
        <p:spPr bwMode="auto">
          <a:xfrm>
            <a:off x="7743264" y="3658226"/>
            <a:ext cx="391908" cy="391908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9" name="Group 150"/>
          <p:cNvGrpSpPr>
            <a:grpSpLocks noChangeAspect="1"/>
          </p:cNvGrpSpPr>
          <p:nvPr/>
        </p:nvGrpSpPr>
        <p:grpSpPr>
          <a:xfrm>
            <a:off x="7734300" y="4526832"/>
            <a:ext cx="486036" cy="437702"/>
            <a:chOff x="11257543" y="2117339"/>
            <a:chExt cx="486036" cy="437702"/>
          </a:xfrm>
        </p:grpSpPr>
        <p:sp>
          <p:nvSpPr>
            <p:cNvPr id="80" name="Freeform 8"/>
            <p:cNvSpPr>
              <a:spLocks/>
            </p:cNvSpPr>
            <p:nvPr/>
          </p:nvSpPr>
          <p:spPr bwMode="auto">
            <a:xfrm>
              <a:off x="11257543" y="2369219"/>
              <a:ext cx="486036" cy="185822"/>
            </a:xfrm>
            <a:custGeom>
              <a:avLst/>
              <a:gdLst/>
              <a:ahLst/>
              <a:cxnLst>
                <a:cxn ang="0">
                  <a:pos x="464" y="137"/>
                </a:cxn>
                <a:cxn ang="0">
                  <a:pos x="542" y="172"/>
                </a:cxn>
                <a:cxn ang="0">
                  <a:pos x="628" y="152"/>
                </a:cxn>
                <a:cxn ang="0">
                  <a:pos x="686" y="81"/>
                </a:cxn>
                <a:cxn ang="0">
                  <a:pos x="730" y="51"/>
                </a:cxn>
                <a:cxn ang="0">
                  <a:pos x="760" y="78"/>
                </a:cxn>
                <a:cxn ang="0">
                  <a:pos x="726" y="177"/>
                </a:cxn>
                <a:cxn ang="0">
                  <a:pos x="559" y="284"/>
                </a:cxn>
                <a:cxn ang="0">
                  <a:pos x="320" y="265"/>
                </a:cxn>
                <a:cxn ang="0">
                  <a:pos x="159" y="272"/>
                </a:cxn>
                <a:cxn ang="0">
                  <a:pos x="96" y="256"/>
                </a:cxn>
                <a:cxn ang="0">
                  <a:pos x="0" y="160"/>
                </a:cxn>
                <a:cxn ang="0">
                  <a:pos x="188" y="29"/>
                </a:cxn>
                <a:cxn ang="0">
                  <a:pos x="311" y="12"/>
                </a:cxn>
                <a:cxn ang="0">
                  <a:pos x="542" y="35"/>
                </a:cxn>
                <a:cxn ang="0">
                  <a:pos x="592" y="61"/>
                </a:cxn>
                <a:cxn ang="0">
                  <a:pos x="576" y="112"/>
                </a:cxn>
                <a:cxn ang="0">
                  <a:pos x="485" y="131"/>
                </a:cxn>
                <a:cxn ang="0">
                  <a:pos x="464" y="132"/>
                </a:cxn>
                <a:cxn ang="0">
                  <a:pos x="464" y="137"/>
                </a:cxn>
              </a:cxnLst>
              <a:rect l="0" t="0" r="r" b="b"/>
              <a:pathLst>
                <a:path w="766" h="293">
                  <a:moveTo>
                    <a:pt x="464" y="137"/>
                  </a:moveTo>
                  <a:cubicBezTo>
                    <a:pt x="490" y="148"/>
                    <a:pt x="516" y="160"/>
                    <a:pt x="542" y="172"/>
                  </a:cubicBezTo>
                  <a:cubicBezTo>
                    <a:pt x="575" y="186"/>
                    <a:pt x="604" y="179"/>
                    <a:pt x="628" y="152"/>
                  </a:cubicBezTo>
                  <a:cubicBezTo>
                    <a:pt x="648" y="129"/>
                    <a:pt x="665" y="103"/>
                    <a:pt x="686" y="81"/>
                  </a:cubicBezTo>
                  <a:cubicBezTo>
                    <a:pt x="698" y="69"/>
                    <a:pt x="714" y="58"/>
                    <a:pt x="730" y="51"/>
                  </a:cubicBezTo>
                  <a:cubicBezTo>
                    <a:pt x="752" y="42"/>
                    <a:pt x="766" y="54"/>
                    <a:pt x="760" y="78"/>
                  </a:cubicBezTo>
                  <a:cubicBezTo>
                    <a:pt x="751" y="111"/>
                    <a:pt x="740" y="145"/>
                    <a:pt x="726" y="177"/>
                  </a:cubicBezTo>
                  <a:cubicBezTo>
                    <a:pt x="694" y="248"/>
                    <a:pt x="634" y="276"/>
                    <a:pt x="559" y="284"/>
                  </a:cubicBezTo>
                  <a:cubicBezTo>
                    <a:pt x="478" y="293"/>
                    <a:pt x="399" y="275"/>
                    <a:pt x="320" y="265"/>
                  </a:cubicBezTo>
                  <a:cubicBezTo>
                    <a:pt x="266" y="258"/>
                    <a:pt x="210" y="249"/>
                    <a:pt x="159" y="272"/>
                  </a:cubicBezTo>
                  <a:cubicBezTo>
                    <a:pt x="129" y="285"/>
                    <a:pt x="114" y="277"/>
                    <a:pt x="96" y="256"/>
                  </a:cubicBezTo>
                  <a:cubicBezTo>
                    <a:pt x="66" y="223"/>
                    <a:pt x="33" y="193"/>
                    <a:pt x="0" y="160"/>
                  </a:cubicBezTo>
                  <a:cubicBezTo>
                    <a:pt x="63" y="115"/>
                    <a:pt x="124" y="70"/>
                    <a:pt x="188" y="29"/>
                  </a:cubicBezTo>
                  <a:cubicBezTo>
                    <a:pt x="225" y="5"/>
                    <a:pt x="268" y="0"/>
                    <a:pt x="311" y="12"/>
                  </a:cubicBezTo>
                  <a:cubicBezTo>
                    <a:pt x="387" y="32"/>
                    <a:pt x="463" y="41"/>
                    <a:pt x="542" y="35"/>
                  </a:cubicBezTo>
                  <a:cubicBezTo>
                    <a:pt x="563" y="34"/>
                    <a:pt x="581" y="41"/>
                    <a:pt x="592" y="61"/>
                  </a:cubicBezTo>
                  <a:cubicBezTo>
                    <a:pt x="603" y="81"/>
                    <a:pt x="598" y="105"/>
                    <a:pt x="576" y="112"/>
                  </a:cubicBezTo>
                  <a:cubicBezTo>
                    <a:pt x="546" y="121"/>
                    <a:pt x="515" y="125"/>
                    <a:pt x="485" y="131"/>
                  </a:cubicBezTo>
                  <a:cubicBezTo>
                    <a:pt x="478" y="132"/>
                    <a:pt x="471" y="132"/>
                    <a:pt x="464" y="132"/>
                  </a:cubicBezTo>
                  <a:cubicBezTo>
                    <a:pt x="464" y="134"/>
                    <a:pt x="464" y="135"/>
                    <a:pt x="464" y="1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9"/>
            <p:cNvSpPr>
              <a:spLocks/>
            </p:cNvSpPr>
            <p:nvPr/>
          </p:nvSpPr>
          <p:spPr bwMode="auto">
            <a:xfrm>
              <a:off x="11371667" y="2117339"/>
              <a:ext cx="370569" cy="359829"/>
            </a:xfrm>
            <a:custGeom>
              <a:avLst/>
              <a:gdLst/>
              <a:ahLst/>
              <a:cxnLst>
                <a:cxn ang="0">
                  <a:pos x="347" y="543"/>
                </a:cxn>
                <a:cxn ang="0">
                  <a:pos x="401" y="525"/>
                </a:cxn>
                <a:cxn ang="0">
                  <a:pos x="410" y="430"/>
                </a:cxn>
                <a:cxn ang="0">
                  <a:pos x="399" y="403"/>
                </a:cxn>
                <a:cxn ang="0">
                  <a:pos x="341" y="301"/>
                </a:cxn>
                <a:cxn ang="0">
                  <a:pos x="298" y="284"/>
                </a:cxn>
                <a:cxn ang="0">
                  <a:pos x="294" y="236"/>
                </a:cxn>
                <a:cxn ang="0">
                  <a:pos x="295" y="176"/>
                </a:cxn>
                <a:cxn ang="0">
                  <a:pos x="296" y="172"/>
                </a:cxn>
                <a:cxn ang="0">
                  <a:pos x="355" y="225"/>
                </a:cxn>
                <a:cxn ang="0">
                  <a:pos x="392" y="225"/>
                </a:cxn>
                <a:cxn ang="0">
                  <a:pos x="317" y="137"/>
                </a:cxn>
                <a:cxn ang="0">
                  <a:pos x="294" y="112"/>
                </a:cxn>
                <a:cxn ang="0">
                  <a:pos x="293" y="103"/>
                </a:cxn>
                <a:cxn ang="0">
                  <a:pos x="275" y="103"/>
                </a:cxn>
                <a:cxn ang="0">
                  <a:pos x="274" y="114"/>
                </a:cxn>
                <a:cxn ang="0">
                  <a:pos x="255" y="137"/>
                </a:cxn>
                <a:cxn ang="0">
                  <a:pos x="173" y="223"/>
                </a:cxn>
                <a:cxn ang="0">
                  <a:pos x="246" y="316"/>
                </a:cxn>
                <a:cxn ang="0">
                  <a:pos x="274" y="353"/>
                </a:cxn>
                <a:cxn ang="0">
                  <a:pos x="274" y="417"/>
                </a:cxn>
                <a:cxn ang="0">
                  <a:pos x="220" y="411"/>
                </a:cxn>
                <a:cxn ang="0">
                  <a:pos x="210" y="399"/>
                </a:cxn>
                <a:cxn ang="0">
                  <a:pos x="179" y="376"/>
                </a:cxn>
                <a:cxn ang="0">
                  <a:pos x="166" y="377"/>
                </a:cxn>
                <a:cxn ang="0">
                  <a:pos x="168" y="398"/>
                </a:cxn>
                <a:cxn ang="0">
                  <a:pos x="22" y="402"/>
                </a:cxn>
                <a:cxn ang="0">
                  <a:pos x="46" y="182"/>
                </a:cxn>
                <a:cxn ang="0">
                  <a:pos x="455" y="105"/>
                </a:cxn>
                <a:cxn ang="0">
                  <a:pos x="535" y="427"/>
                </a:cxn>
                <a:cxn ang="0">
                  <a:pos x="530" y="436"/>
                </a:cxn>
                <a:cxn ang="0">
                  <a:pos x="442" y="532"/>
                </a:cxn>
                <a:cxn ang="0">
                  <a:pos x="347" y="543"/>
                </a:cxn>
              </a:cxnLst>
              <a:rect l="0" t="0" r="r" b="b"/>
              <a:pathLst>
                <a:path w="584" h="567">
                  <a:moveTo>
                    <a:pt x="347" y="543"/>
                  </a:moveTo>
                  <a:cubicBezTo>
                    <a:pt x="366" y="537"/>
                    <a:pt x="384" y="532"/>
                    <a:pt x="401" y="525"/>
                  </a:cubicBezTo>
                  <a:cubicBezTo>
                    <a:pt x="445" y="509"/>
                    <a:pt x="442" y="452"/>
                    <a:pt x="410" y="430"/>
                  </a:cubicBezTo>
                  <a:cubicBezTo>
                    <a:pt x="397" y="422"/>
                    <a:pt x="396" y="415"/>
                    <a:pt x="399" y="403"/>
                  </a:cubicBezTo>
                  <a:cubicBezTo>
                    <a:pt x="409" y="353"/>
                    <a:pt x="389" y="319"/>
                    <a:pt x="341" y="301"/>
                  </a:cubicBezTo>
                  <a:cubicBezTo>
                    <a:pt x="326" y="296"/>
                    <a:pt x="305" y="295"/>
                    <a:pt x="298" y="284"/>
                  </a:cubicBezTo>
                  <a:cubicBezTo>
                    <a:pt x="290" y="272"/>
                    <a:pt x="295" y="252"/>
                    <a:pt x="294" y="236"/>
                  </a:cubicBezTo>
                  <a:cubicBezTo>
                    <a:pt x="294" y="216"/>
                    <a:pt x="295" y="196"/>
                    <a:pt x="295" y="176"/>
                  </a:cubicBezTo>
                  <a:cubicBezTo>
                    <a:pt x="295" y="174"/>
                    <a:pt x="295" y="173"/>
                    <a:pt x="296" y="172"/>
                  </a:cubicBezTo>
                  <a:cubicBezTo>
                    <a:pt x="324" y="168"/>
                    <a:pt x="338" y="180"/>
                    <a:pt x="355" y="225"/>
                  </a:cubicBezTo>
                  <a:cubicBezTo>
                    <a:pt x="367" y="225"/>
                    <a:pt x="380" y="225"/>
                    <a:pt x="392" y="225"/>
                  </a:cubicBezTo>
                  <a:cubicBezTo>
                    <a:pt x="387" y="175"/>
                    <a:pt x="362" y="144"/>
                    <a:pt x="317" y="137"/>
                  </a:cubicBezTo>
                  <a:cubicBezTo>
                    <a:pt x="299" y="135"/>
                    <a:pt x="291" y="129"/>
                    <a:pt x="294" y="112"/>
                  </a:cubicBezTo>
                  <a:cubicBezTo>
                    <a:pt x="295" y="109"/>
                    <a:pt x="294" y="107"/>
                    <a:pt x="293" y="103"/>
                  </a:cubicBezTo>
                  <a:cubicBezTo>
                    <a:pt x="287" y="103"/>
                    <a:pt x="282" y="103"/>
                    <a:pt x="275" y="103"/>
                  </a:cubicBezTo>
                  <a:cubicBezTo>
                    <a:pt x="275" y="107"/>
                    <a:pt x="273" y="111"/>
                    <a:pt x="274" y="114"/>
                  </a:cubicBezTo>
                  <a:cubicBezTo>
                    <a:pt x="276" y="129"/>
                    <a:pt x="271" y="135"/>
                    <a:pt x="255" y="137"/>
                  </a:cubicBezTo>
                  <a:cubicBezTo>
                    <a:pt x="211" y="140"/>
                    <a:pt x="175" y="179"/>
                    <a:pt x="173" y="223"/>
                  </a:cubicBezTo>
                  <a:cubicBezTo>
                    <a:pt x="170" y="269"/>
                    <a:pt x="195" y="303"/>
                    <a:pt x="246" y="316"/>
                  </a:cubicBezTo>
                  <a:cubicBezTo>
                    <a:pt x="270" y="321"/>
                    <a:pt x="276" y="331"/>
                    <a:pt x="274" y="353"/>
                  </a:cubicBezTo>
                  <a:cubicBezTo>
                    <a:pt x="272" y="373"/>
                    <a:pt x="274" y="394"/>
                    <a:pt x="274" y="417"/>
                  </a:cubicBezTo>
                  <a:cubicBezTo>
                    <a:pt x="254" y="415"/>
                    <a:pt x="237" y="414"/>
                    <a:pt x="220" y="411"/>
                  </a:cubicBezTo>
                  <a:cubicBezTo>
                    <a:pt x="216" y="410"/>
                    <a:pt x="210" y="403"/>
                    <a:pt x="210" y="399"/>
                  </a:cubicBezTo>
                  <a:cubicBezTo>
                    <a:pt x="210" y="376"/>
                    <a:pt x="197" y="374"/>
                    <a:pt x="179" y="376"/>
                  </a:cubicBezTo>
                  <a:cubicBezTo>
                    <a:pt x="175" y="377"/>
                    <a:pt x="171" y="377"/>
                    <a:pt x="166" y="377"/>
                  </a:cubicBezTo>
                  <a:cubicBezTo>
                    <a:pt x="167" y="383"/>
                    <a:pt x="167" y="389"/>
                    <a:pt x="168" y="398"/>
                  </a:cubicBezTo>
                  <a:cubicBezTo>
                    <a:pt x="119" y="388"/>
                    <a:pt x="70" y="377"/>
                    <a:pt x="22" y="402"/>
                  </a:cubicBezTo>
                  <a:cubicBezTo>
                    <a:pt x="0" y="323"/>
                    <a:pt x="6" y="250"/>
                    <a:pt x="46" y="182"/>
                  </a:cubicBezTo>
                  <a:cubicBezTo>
                    <a:pt x="132" y="36"/>
                    <a:pt x="321" y="0"/>
                    <a:pt x="455" y="105"/>
                  </a:cubicBezTo>
                  <a:cubicBezTo>
                    <a:pt x="550" y="179"/>
                    <a:pt x="584" y="316"/>
                    <a:pt x="535" y="427"/>
                  </a:cubicBezTo>
                  <a:cubicBezTo>
                    <a:pt x="533" y="430"/>
                    <a:pt x="533" y="435"/>
                    <a:pt x="530" y="436"/>
                  </a:cubicBezTo>
                  <a:cubicBezTo>
                    <a:pt x="490" y="458"/>
                    <a:pt x="472" y="501"/>
                    <a:pt x="442" y="532"/>
                  </a:cubicBezTo>
                  <a:cubicBezTo>
                    <a:pt x="410" y="565"/>
                    <a:pt x="390" y="567"/>
                    <a:pt x="347" y="54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10"/>
            <p:cNvSpPr>
              <a:spLocks/>
            </p:cNvSpPr>
            <p:nvPr/>
          </p:nvSpPr>
          <p:spPr bwMode="auto">
            <a:xfrm>
              <a:off x="11506200" y="2224751"/>
              <a:ext cx="38668" cy="69549"/>
            </a:xfrm>
            <a:custGeom>
              <a:avLst/>
              <a:gdLst/>
              <a:ahLst/>
              <a:cxnLst>
                <a:cxn ang="0">
                  <a:pos x="61" y="1"/>
                </a:cxn>
                <a:cxn ang="0">
                  <a:pos x="61" y="110"/>
                </a:cxn>
                <a:cxn ang="0">
                  <a:pos x="1" y="55"/>
                </a:cxn>
                <a:cxn ang="0">
                  <a:pos x="61" y="1"/>
                </a:cxn>
              </a:cxnLst>
              <a:rect l="0" t="0" r="r" b="b"/>
              <a:pathLst>
                <a:path w="61" h="110">
                  <a:moveTo>
                    <a:pt x="61" y="1"/>
                  </a:moveTo>
                  <a:cubicBezTo>
                    <a:pt x="61" y="38"/>
                    <a:pt x="61" y="74"/>
                    <a:pt x="61" y="110"/>
                  </a:cubicBezTo>
                  <a:cubicBezTo>
                    <a:pt x="26" y="110"/>
                    <a:pt x="0" y="86"/>
                    <a:pt x="1" y="55"/>
                  </a:cubicBezTo>
                  <a:cubicBezTo>
                    <a:pt x="3" y="21"/>
                    <a:pt x="25" y="0"/>
                    <a:pt x="61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11558831" y="2327329"/>
              <a:ext cx="49678" cy="53974"/>
            </a:xfrm>
            <a:custGeom>
              <a:avLst/>
              <a:gdLst/>
              <a:ahLst/>
              <a:cxnLst>
                <a:cxn ang="0">
                  <a:pos x="60" y="81"/>
                </a:cxn>
                <a:cxn ang="0">
                  <a:pos x="0" y="85"/>
                </a:cxn>
                <a:cxn ang="0">
                  <a:pos x="1" y="0"/>
                </a:cxn>
                <a:cxn ang="0">
                  <a:pos x="60" y="81"/>
                </a:cxn>
              </a:cxnLst>
              <a:rect l="0" t="0" r="r" b="b"/>
              <a:pathLst>
                <a:path w="78" h="85">
                  <a:moveTo>
                    <a:pt x="60" y="81"/>
                  </a:moveTo>
                  <a:cubicBezTo>
                    <a:pt x="41" y="82"/>
                    <a:pt x="21" y="84"/>
                    <a:pt x="0" y="85"/>
                  </a:cubicBezTo>
                  <a:cubicBezTo>
                    <a:pt x="0" y="55"/>
                    <a:pt x="0" y="28"/>
                    <a:pt x="1" y="0"/>
                  </a:cubicBezTo>
                  <a:cubicBezTo>
                    <a:pt x="39" y="3"/>
                    <a:pt x="78" y="31"/>
                    <a:pt x="60" y="8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84" name="Group 50"/>
          <p:cNvGrpSpPr/>
          <p:nvPr/>
        </p:nvGrpSpPr>
        <p:grpSpPr>
          <a:xfrm>
            <a:off x="7742860" y="5462190"/>
            <a:ext cx="392719" cy="340544"/>
            <a:chOff x="7022650" y="5904633"/>
            <a:chExt cx="392719" cy="340544"/>
          </a:xfrm>
        </p:grpSpPr>
        <p:sp>
          <p:nvSpPr>
            <p:cNvPr id="85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7" name="Freeform 105"/>
          <p:cNvSpPr>
            <a:spLocks noChangeAspect="1" noEditPoints="1"/>
          </p:cNvSpPr>
          <p:nvPr/>
        </p:nvSpPr>
        <p:spPr bwMode="auto">
          <a:xfrm>
            <a:off x="7828744" y="2705100"/>
            <a:ext cx="258691" cy="391908"/>
          </a:xfrm>
          <a:custGeom>
            <a:avLst/>
            <a:gdLst/>
            <a:ahLst/>
            <a:cxnLst>
              <a:cxn ang="0">
                <a:pos x="37" y="49"/>
              </a:cxn>
              <a:cxn ang="0">
                <a:pos x="42" y="56"/>
              </a:cxn>
              <a:cxn ang="0">
                <a:pos x="63" y="56"/>
              </a:cxn>
              <a:cxn ang="0">
                <a:pos x="67" y="49"/>
              </a:cxn>
              <a:cxn ang="0">
                <a:pos x="63" y="42"/>
              </a:cxn>
              <a:cxn ang="0">
                <a:pos x="42" y="42"/>
              </a:cxn>
              <a:cxn ang="0">
                <a:pos x="37" y="49"/>
              </a:cxn>
              <a:cxn ang="0">
                <a:pos x="66" y="59"/>
              </a:cxn>
              <a:cxn ang="0">
                <a:pos x="38" y="59"/>
              </a:cxn>
              <a:cxn ang="0">
                <a:pos x="33" y="66"/>
              </a:cxn>
              <a:cxn ang="0">
                <a:pos x="38" y="73"/>
              </a:cxn>
              <a:cxn ang="0">
                <a:pos x="66" y="73"/>
              </a:cxn>
              <a:cxn ang="0">
                <a:pos x="71" y="66"/>
              </a:cxn>
              <a:cxn ang="0">
                <a:pos x="66" y="59"/>
              </a:cxn>
              <a:cxn ang="0">
                <a:pos x="64" y="76"/>
              </a:cxn>
              <a:cxn ang="0">
                <a:pos x="41" y="76"/>
              </a:cxn>
              <a:cxn ang="0">
                <a:pos x="37" y="83"/>
              </a:cxn>
              <a:cxn ang="0">
                <a:pos x="41" y="90"/>
              </a:cxn>
              <a:cxn ang="0">
                <a:pos x="64" y="90"/>
              </a:cxn>
              <a:cxn ang="0">
                <a:pos x="69" y="83"/>
              </a:cxn>
              <a:cxn ang="0">
                <a:pos x="64" y="76"/>
              </a:cxn>
              <a:cxn ang="0">
                <a:pos x="58" y="93"/>
              </a:cxn>
              <a:cxn ang="0">
                <a:pos x="45" y="93"/>
              </a:cxn>
              <a:cxn ang="0">
                <a:pos x="41" y="100"/>
              </a:cxn>
              <a:cxn ang="0">
                <a:pos x="45" y="107"/>
              </a:cxn>
              <a:cxn ang="0">
                <a:pos x="58" y="107"/>
              </a:cxn>
              <a:cxn ang="0">
                <a:pos x="63" y="100"/>
              </a:cxn>
              <a:cxn ang="0">
                <a:pos x="58" y="93"/>
              </a:cxn>
              <a:cxn ang="0">
                <a:pos x="40" y="92"/>
              </a:cxn>
              <a:cxn ang="0">
                <a:pos x="35" y="89"/>
              </a:cxn>
              <a:cxn ang="0">
                <a:pos x="34" y="83"/>
              </a:cxn>
              <a:cxn ang="0">
                <a:pos x="35" y="77"/>
              </a:cxn>
              <a:cxn ang="0">
                <a:pos x="36" y="76"/>
              </a:cxn>
              <a:cxn ang="0">
                <a:pos x="31" y="72"/>
              </a:cxn>
              <a:cxn ang="0">
                <a:pos x="30" y="66"/>
              </a:cxn>
              <a:cxn ang="0">
                <a:pos x="31" y="60"/>
              </a:cxn>
              <a:cxn ang="0">
                <a:pos x="36" y="57"/>
              </a:cxn>
              <a:cxn ang="0">
                <a:pos x="35" y="56"/>
              </a:cxn>
              <a:cxn ang="0">
                <a:pos x="34" y="49"/>
              </a:cxn>
              <a:cxn ang="0">
                <a:pos x="35" y="43"/>
              </a:cxn>
              <a:cxn ang="0">
                <a:pos x="41" y="40"/>
              </a:cxn>
              <a:cxn ang="0">
                <a:pos x="46" y="40"/>
              </a:cxn>
              <a:cxn ang="0">
                <a:pos x="55" y="16"/>
              </a:cxn>
              <a:cxn ang="0">
                <a:pos x="38" y="2"/>
              </a:cxn>
              <a:cxn ang="0">
                <a:pos x="38" y="11"/>
              </a:cxn>
              <a:cxn ang="0">
                <a:pos x="11" y="43"/>
              </a:cxn>
              <a:cxn ang="0">
                <a:pos x="0" y="61"/>
              </a:cxn>
              <a:cxn ang="0">
                <a:pos x="0" y="85"/>
              </a:cxn>
              <a:cxn ang="0">
                <a:pos x="23" y="107"/>
              </a:cxn>
              <a:cxn ang="0">
                <a:pos x="39" y="107"/>
              </a:cxn>
              <a:cxn ang="0">
                <a:pos x="39" y="106"/>
              </a:cxn>
              <a:cxn ang="0">
                <a:pos x="38" y="100"/>
              </a:cxn>
              <a:cxn ang="0">
                <a:pos x="39" y="94"/>
              </a:cxn>
              <a:cxn ang="0">
                <a:pos x="40" y="92"/>
              </a:cxn>
            </a:cxnLst>
            <a:rect l="0" t="0" r="r" b="b"/>
            <a:pathLst>
              <a:path w="71" h="107">
                <a:moveTo>
                  <a:pt x="37" y="49"/>
                </a:moveTo>
                <a:cubicBezTo>
                  <a:pt x="37" y="53"/>
                  <a:pt x="38" y="56"/>
                  <a:pt x="42" y="56"/>
                </a:cubicBezTo>
                <a:cubicBezTo>
                  <a:pt x="63" y="56"/>
                  <a:pt x="63" y="56"/>
                  <a:pt x="63" y="56"/>
                </a:cubicBezTo>
                <a:cubicBezTo>
                  <a:pt x="67" y="56"/>
                  <a:pt x="67" y="53"/>
                  <a:pt x="67" y="49"/>
                </a:cubicBezTo>
                <a:cubicBezTo>
                  <a:pt x="67" y="46"/>
                  <a:pt x="67" y="42"/>
                  <a:pt x="63" y="42"/>
                </a:cubicBezTo>
                <a:cubicBezTo>
                  <a:pt x="42" y="42"/>
                  <a:pt x="42" y="42"/>
                  <a:pt x="42" y="42"/>
                </a:cubicBezTo>
                <a:cubicBezTo>
                  <a:pt x="38" y="42"/>
                  <a:pt x="37" y="46"/>
                  <a:pt x="37" y="49"/>
                </a:cubicBezTo>
                <a:close/>
                <a:moveTo>
                  <a:pt x="66" y="59"/>
                </a:moveTo>
                <a:cubicBezTo>
                  <a:pt x="38" y="59"/>
                  <a:pt x="38" y="59"/>
                  <a:pt x="38" y="59"/>
                </a:cubicBezTo>
                <a:cubicBezTo>
                  <a:pt x="34" y="59"/>
                  <a:pt x="33" y="62"/>
                  <a:pt x="33" y="66"/>
                </a:cubicBezTo>
                <a:cubicBezTo>
                  <a:pt x="33" y="70"/>
                  <a:pt x="34" y="73"/>
                  <a:pt x="38" y="73"/>
                </a:cubicBezTo>
                <a:cubicBezTo>
                  <a:pt x="66" y="73"/>
                  <a:pt x="66" y="73"/>
                  <a:pt x="66" y="73"/>
                </a:cubicBezTo>
                <a:cubicBezTo>
                  <a:pt x="70" y="73"/>
                  <a:pt x="71" y="70"/>
                  <a:pt x="71" y="66"/>
                </a:cubicBezTo>
                <a:cubicBezTo>
                  <a:pt x="71" y="62"/>
                  <a:pt x="70" y="59"/>
                  <a:pt x="66" y="59"/>
                </a:cubicBezTo>
                <a:close/>
                <a:moveTo>
                  <a:pt x="64" y="76"/>
                </a:moveTo>
                <a:cubicBezTo>
                  <a:pt x="41" y="76"/>
                  <a:pt x="41" y="76"/>
                  <a:pt x="41" y="76"/>
                </a:cubicBezTo>
                <a:cubicBezTo>
                  <a:pt x="38" y="76"/>
                  <a:pt x="37" y="79"/>
                  <a:pt x="37" y="83"/>
                </a:cubicBezTo>
                <a:cubicBezTo>
                  <a:pt x="37" y="87"/>
                  <a:pt x="38" y="90"/>
                  <a:pt x="41" y="90"/>
                </a:cubicBezTo>
                <a:cubicBezTo>
                  <a:pt x="64" y="90"/>
                  <a:pt x="64" y="90"/>
                  <a:pt x="64" y="90"/>
                </a:cubicBezTo>
                <a:cubicBezTo>
                  <a:pt x="68" y="90"/>
                  <a:pt x="69" y="87"/>
                  <a:pt x="69" y="83"/>
                </a:cubicBezTo>
                <a:cubicBezTo>
                  <a:pt x="69" y="79"/>
                  <a:pt x="68" y="76"/>
                  <a:pt x="64" y="76"/>
                </a:cubicBezTo>
                <a:close/>
                <a:moveTo>
                  <a:pt x="58" y="93"/>
                </a:moveTo>
                <a:cubicBezTo>
                  <a:pt x="45" y="93"/>
                  <a:pt x="45" y="93"/>
                  <a:pt x="45" y="93"/>
                </a:cubicBezTo>
                <a:cubicBezTo>
                  <a:pt x="41" y="93"/>
                  <a:pt x="41" y="96"/>
                  <a:pt x="41" y="100"/>
                </a:cubicBezTo>
                <a:cubicBezTo>
                  <a:pt x="41" y="104"/>
                  <a:pt x="41" y="107"/>
                  <a:pt x="45" y="107"/>
                </a:cubicBezTo>
                <a:cubicBezTo>
                  <a:pt x="58" y="107"/>
                  <a:pt x="58" y="107"/>
                  <a:pt x="58" y="107"/>
                </a:cubicBezTo>
                <a:cubicBezTo>
                  <a:pt x="62" y="107"/>
                  <a:pt x="63" y="104"/>
                  <a:pt x="63" y="100"/>
                </a:cubicBezTo>
                <a:cubicBezTo>
                  <a:pt x="63" y="96"/>
                  <a:pt x="62" y="93"/>
                  <a:pt x="58" y="93"/>
                </a:cubicBezTo>
                <a:close/>
                <a:moveTo>
                  <a:pt x="40" y="92"/>
                </a:moveTo>
                <a:cubicBezTo>
                  <a:pt x="37" y="92"/>
                  <a:pt x="36" y="90"/>
                  <a:pt x="35" y="89"/>
                </a:cubicBezTo>
                <a:cubicBezTo>
                  <a:pt x="34" y="88"/>
                  <a:pt x="34" y="86"/>
                  <a:pt x="34" y="83"/>
                </a:cubicBezTo>
                <a:cubicBezTo>
                  <a:pt x="34" y="80"/>
                  <a:pt x="34" y="78"/>
                  <a:pt x="35" y="77"/>
                </a:cubicBezTo>
                <a:cubicBezTo>
                  <a:pt x="35" y="76"/>
                  <a:pt x="36" y="76"/>
                  <a:pt x="36" y="76"/>
                </a:cubicBezTo>
                <a:cubicBezTo>
                  <a:pt x="33" y="75"/>
                  <a:pt x="32" y="74"/>
                  <a:pt x="31" y="72"/>
                </a:cubicBezTo>
                <a:cubicBezTo>
                  <a:pt x="30" y="71"/>
                  <a:pt x="30" y="69"/>
                  <a:pt x="30" y="66"/>
                </a:cubicBezTo>
                <a:cubicBezTo>
                  <a:pt x="30" y="63"/>
                  <a:pt x="30" y="61"/>
                  <a:pt x="31" y="60"/>
                </a:cubicBezTo>
                <a:cubicBezTo>
                  <a:pt x="32" y="59"/>
                  <a:pt x="33" y="57"/>
                  <a:pt x="36" y="57"/>
                </a:cubicBezTo>
                <a:cubicBezTo>
                  <a:pt x="36" y="56"/>
                  <a:pt x="35" y="56"/>
                  <a:pt x="35" y="56"/>
                </a:cubicBezTo>
                <a:cubicBezTo>
                  <a:pt x="34" y="54"/>
                  <a:pt x="34" y="52"/>
                  <a:pt x="34" y="49"/>
                </a:cubicBezTo>
                <a:cubicBezTo>
                  <a:pt x="34" y="47"/>
                  <a:pt x="34" y="45"/>
                  <a:pt x="35" y="43"/>
                </a:cubicBezTo>
                <a:cubicBezTo>
                  <a:pt x="36" y="42"/>
                  <a:pt x="38" y="40"/>
                  <a:pt x="41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37"/>
                  <a:pt x="55" y="30"/>
                  <a:pt x="55" y="16"/>
                </a:cubicBezTo>
                <a:cubicBezTo>
                  <a:pt x="55" y="0"/>
                  <a:pt x="38" y="2"/>
                  <a:pt x="38" y="2"/>
                </a:cubicBezTo>
                <a:cubicBezTo>
                  <a:pt x="38" y="2"/>
                  <a:pt x="38" y="6"/>
                  <a:pt x="38" y="11"/>
                </a:cubicBezTo>
                <a:cubicBezTo>
                  <a:pt x="36" y="22"/>
                  <a:pt x="16" y="39"/>
                  <a:pt x="11" y="43"/>
                </a:cubicBezTo>
                <a:cubicBezTo>
                  <a:pt x="4" y="47"/>
                  <a:pt x="0" y="53"/>
                  <a:pt x="0" y="61"/>
                </a:cubicBezTo>
                <a:cubicBezTo>
                  <a:pt x="0" y="61"/>
                  <a:pt x="0" y="85"/>
                  <a:pt x="0" y="85"/>
                </a:cubicBezTo>
                <a:cubicBezTo>
                  <a:pt x="0" y="97"/>
                  <a:pt x="10" y="107"/>
                  <a:pt x="23" y="107"/>
                </a:cubicBezTo>
                <a:cubicBezTo>
                  <a:pt x="39" y="107"/>
                  <a:pt x="39" y="107"/>
                  <a:pt x="39" y="107"/>
                </a:cubicBezTo>
                <a:cubicBezTo>
                  <a:pt x="39" y="107"/>
                  <a:pt x="39" y="106"/>
                  <a:pt x="39" y="106"/>
                </a:cubicBezTo>
                <a:cubicBezTo>
                  <a:pt x="38" y="105"/>
                  <a:pt x="38" y="103"/>
                  <a:pt x="38" y="100"/>
                </a:cubicBezTo>
                <a:cubicBezTo>
                  <a:pt x="38" y="97"/>
                  <a:pt x="38" y="95"/>
                  <a:pt x="39" y="94"/>
                </a:cubicBezTo>
                <a:cubicBezTo>
                  <a:pt x="39" y="93"/>
                  <a:pt x="39" y="93"/>
                  <a:pt x="40" y="92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9285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4" name="Group 423"/>
          <p:cNvGrpSpPr/>
          <p:nvPr/>
        </p:nvGrpSpPr>
        <p:grpSpPr>
          <a:xfrm>
            <a:off x="9290400" y="1256176"/>
            <a:ext cx="553427" cy="635449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26" y="469411"/>
            <a:ext cx="9061451" cy="685800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nicipal Administrative Information Network (MAINet™) 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1644377" y="2091208"/>
            <a:ext cx="2664000" cy="3442911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6277" y="2197540"/>
            <a:ext cx="2500590" cy="4343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1685583" y="2731666"/>
            <a:ext cx="2583453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Lack of transparency and accountability in functioning of KDMC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Delays in service delivery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Citizens, </a:t>
            </a: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businesses </a:t>
            </a: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making repeated visits to offices to get work don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763744" y="2091208"/>
            <a:ext cx="2664000" cy="3442911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25080" y="2197540"/>
            <a:ext cx="2500590" cy="4343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90000" rIns="108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843882" y="2091206"/>
            <a:ext cx="2689964" cy="3442912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 liquidity to ULB due to predictable and consistent cash-flows</a:t>
            </a:r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3882" y="2197540"/>
            <a:ext cx="2500590" cy="434375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 smtClean="0">
                <a:solidFill>
                  <a:srgbClr val="FFFFFF"/>
                </a:solidFill>
                <a:cs typeface="Arial" pitchFamily="34" charset="0"/>
              </a:rPr>
              <a:t>Impact</a:t>
            </a:r>
            <a:endParaRPr lang="en-US" sz="16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603377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722179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840982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722177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840979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603374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033718" y="1379593"/>
            <a:ext cx="1003310" cy="3333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603375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10800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722178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Government</a:t>
            </a: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840980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814545" y="2731666"/>
            <a:ext cx="2583453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“MAINet” – Integrated suite of Applications for Municipal Corporation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Re-engineering 400 business processes 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Single Window Citizen facilitation center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Complaints and </a:t>
            </a: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re-</a:t>
            </a:r>
            <a:r>
              <a:rPr lang="en-US" sz="1400" dirty="0" err="1" smtClean="0">
                <a:solidFill>
                  <a:srgbClr val="000000"/>
                </a:solidFill>
                <a:cs typeface="Arial" pitchFamily="34" charset="0"/>
              </a:rPr>
              <a:t>dressal</a:t>
            </a: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s</a:t>
            </a: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ystem</a:t>
            </a: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64" name="Rectangle 463"/>
          <p:cNvSpPr/>
          <p:nvPr/>
        </p:nvSpPr>
        <p:spPr>
          <a:xfrm>
            <a:off x="8182550" y="2731666"/>
            <a:ext cx="2321551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75" name="Freeform 75"/>
          <p:cNvSpPr>
            <a:spLocks noChangeAspect="1" noEditPoints="1"/>
          </p:cNvSpPr>
          <p:nvPr/>
        </p:nvSpPr>
        <p:spPr bwMode="auto">
          <a:xfrm>
            <a:off x="7936197" y="2812756"/>
            <a:ext cx="220952" cy="298744"/>
          </a:xfrm>
          <a:custGeom>
            <a:avLst/>
            <a:gdLst/>
            <a:ahLst/>
            <a:cxnLst>
              <a:cxn ang="0">
                <a:pos x="49" y="8"/>
              </a:cxn>
              <a:cxn ang="0">
                <a:pos x="37" y="1"/>
              </a:cxn>
              <a:cxn ang="0">
                <a:pos x="29" y="0"/>
              </a:cxn>
              <a:cxn ang="0">
                <a:pos x="8" y="8"/>
              </a:cxn>
              <a:cxn ang="0">
                <a:pos x="0" y="29"/>
              </a:cxn>
              <a:cxn ang="0">
                <a:pos x="0" y="32"/>
              </a:cxn>
              <a:cxn ang="0">
                <a:pos x="3" y="43"/>
              </a:cxn>
              <a:cxn ang="0">
                <a:pos x="14" y="75"/>
              </a:cxn>
              <a:cxn ang="0">
                <a:pos x="15" y="79"/>
              </a:cxn>
              <a:cxn ang="0">
                <a:pos x="18" y="82"/>
              </a:cxn>
              <a:cxn ang="0">
                <a:pos x="39" y="82"/>
              </a:cxn>
              <a:cxn ang="0">
                <a:pos x="43" y="79"/>
              </a:cxn>
              <a:cxn ang="0">
                <a:pos x="43" y="75"/>
              </a:cxn>
              <a:cxn ang="0">
                <a:pos x="54" y="43"/>
              </a:cxn>
              <a:cxn ang="0">
                <a:pos x="58" y="32"/>
              </a:cxn>
              <a:cxn ang="0">
                <a:pos x="58" y="29"/>
              </a:cxn>
              <a:cxn ang="0">
                <a:pos x="49" y="8"/>
              </a:cxn>
              <a:cxn ang="0">
                <a:pos x="17" y="95"/>
              </a:cxn>
              <a:cxn ang="0">
                <a:pos x="41" y="95"/>
              </a:cxn>
              <a:cxn ang="0">
                <a:pos x="41" y="87"/>
              </a:cxn>
              <a:cxn ang="0">
                <a:pos x="17" y="87"/>
              </a:cxn>
              <a:cxn ang="0">
                <a:pos x="17" y="95"/>
              </a:cxn>
              <a:cxn ang="0">
                <a:pos x="22" y="103"/>
              </a:cxn>
              <a:cxn ang="0">
                <a:pos x="35" y="103"/>
              </a:cxn>
              <a:cxn ang="0">
                <a:pos x="35" y="99"/>
              </a:cxn>
              <a:cxn ang="0">
                <a:pos x="22" y="99"/>
              </a:cxn>
              <a:cxn ang="0">
                <a:pos x="22" y="103"/>
              </a:cxn>
            </a:cxnLst>
            <a:rect l="0" t="0" r="r" b="b"/>
            <a:pathLst>
              <a:path w="58" h="103">
                <a:moveTo>
                  <a:pt x="49" y="8"/>
                </a:moveTo>
                <a:cubicBezTo>
                  <a:pt x="46" y="5"/>
                  <a:pt x="42" y="2"/>
                  <a:pt x="37" y="1"/>
                </a:cubicBezTo>
                <a:cubicBezTo>
                  <a:pt x="34" y="0"/>
                  <a:pt x="32" y="0"/>
                  <a:pt x="29" y="0"/>
                </a:cubicBezTo>
                <a:cubicBezTo>
                  <a:pt x="21" y="0"/>
                  <a:pt x="14" y="3"/>
                  <a:pt x="8" y="8"/>
                </a:cubicBezTo>
                <a:cubicBezTo>
                  <a:pt x="3" y="14"/>
                  <a:pt x="0" y="21"/>
                  <a:pt x="0" y="29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6"/>
                  <a:pt x="1" y="40"/>
                  <a:pt x="3" y="43"/>
                </a:cubicBezTo>
                <a:cubicBezTo>
                  <a:pt x="3" y="43"/>
                  <a:pt x="14" y="63"/>
                  <a:pt x="14" y="75"/>
                </a:cubicBezTo>
                <a:cubicBezTo>
                  <a:pt x="15" y="79"/>
                  <a:pt x="15" y="79"/>
                  <a:pt x="15" y="79"/>
                </a:cubicBezTo>
                <a:cubicBezTo>
                  <a:pt x="15" y="81"/>
                  <a:pt x="16" y="82"/>
                  <a:pt x="18" y="82"/>
                </a:cubicBezTo>
                <a:cubicBezTo>
                  <a:pt x="39" y="82"/>
                  <a:pt x="39" y="82"/>
                  <a:pt x="39" y="82"/>
                </a:cubicBezTo>
                <a:cubicBezTo>
                  <a:pt x="41" y="82"/>
                  <a:pt x="42" y="81"/>
                  <a:pt x="43" y="79"/>
                </a:cubicBezTo>
                <a:cubicBezTo>
                  <a:pt x="43" y="75"/>
                  <a:pt x="43" y="75"/>
                  <a:pt x="43" y="75"/>
                </a:cubicBezTo>
                <a:cubicBezTo>
                  <a:pt x="43" y="63"/>
                  <a:pt x="54" y="43"/>
                  <a:pt x="54" y="43"/>
                </a:cubicBezTo>
                <a:cubicBezTo>
                  <a:pt x="56" y="40"/>
                  <a:pt x="57" y="36"/>
                  <a:pt x="58" y="32"/>
                </a:cubicBezTo>
                <a:cubicBezTo>
                  <a:pt x="58" y="29"/>
                  <a:pt x="58" y="29"/>
                  <a:pt x="58" y="29"/>
                </a:cubicBezTo>
                <a:cubicBezTo>
                  <a:pt x="58" y="21"/>
                  <a:pt x="55" y="14"/>
                  <a:pt x="49" y="8"/>
                </a:cubicBezTo>
                <a:close/>
                <a:moveTo>
                  <a:pt x="17" y="95"/>
                </a:moveTo>
                <a:cubicBezTo>
                  <a:pt x="41" y="95"/>
                  <a:pt x="41" y="95"/>
                  <a:pt x="41" y="95"/>
                </a:cubicBezTo>
                <a:cubicBezTo>
                  <a:pt x="41" y="87"/>
                  <a:pt x="41" y="87"/>
                  <a:pt x="41" y="87"/>
                </a:cubicBezTo>
                <a:cubicBezTo>
                  <a:pt x="17" y="87"/>
                  <a:pt x="17" y="87"/>
                  <a:pt x="17" y="87"/>
                </a:cubicBezTo>
                <a:lnTo>
                  <a:pt x="17" y="95"/>
                </a:lnTo>
                <a:close/>
                <a:moveTo>
                  <a:pt x="22" y="103"/>
                </a:moveTo>
                <a:cubicBezTo>
                  <a:pt x="35" y="103"/>
                  <a:pt x="35" y="103"/>
                  <a:pt x="35" y="103"/>
                </a:cubicBezTo>
                <a:cubicBezTo>
                  <a:pt x="35" y="99"/>
                  <a:pt x="35" y="99"/>
                  <a:pt x="35" y="99"/>
                </a:cubicBezTo>
                <a:cubicBezTo>
                  <a:pt x="22" y="99"/>
                  <a:pt x="22" y="99"/>
                  <a:pt x="22" y="99"/>
                </a:cubicBezTo>
                <a:lnTo>
                  <a:pt x="22" y="103"/>
                </a:lnTo>
                <a:close/>
              </a:path>
            </a:pathLst>
          </a:custGeom>
          <a:solidFill>
            <a:srgbClr val="FEEC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90" name="Freeform 45"/>
          <p:cNvSpPr>
            <a:spLocks noEditPoints="1"/>
          </p:cNvSpPr>
          <p:nvPr/>
        </p:nvSpPr>
        <p:spPr bwMode="auto">
          <a:xfrm>
            <a:off x="7918951" y="3659026"/>
            <a:ext cx="219468" cy="219468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503" name="Group 128"/>
          <p:cNvGrpSpPr/>
          <p:nvPr/>
        </p:nvGrpSpPr>
        <p:grpSpPr>
          <a:xfrm>
            <a:off x="7874966" y="4562095"/>
            <a:ext cx="274903" cy="238381"/>
            <a:chOff x="7022650" y="5904633"/>
            <a:chExt cx="392719" cy="340544"/>
          </a:xfrm>
        </p:grpSpPr>
        <p:sp>
          <p:nvSpPr>
            <p:cNvPr id="504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5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2085788" y="1229214"/>
            <a:ext cx="230426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 pitchFamily="34" charset="0"/>
              <a:buChar char="►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Kalyan  Dombivli Municipal Corporation (KDMC)</a:t>
            </a:r>
            <a:endParaRPr lang="en-IN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8204838" y="2731666"/>
            <a:ext cx="2299263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Multi Channel Citizen-centric Service Deliver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Improvement in Citizen Services with defined service levels and turnaround tim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dirty="0">
                <a:solidFill>
                  <a:srgbClr val="000000"/>
                </a:solidFill>
                <a:cs typeface="Arial" pitchFamily="34" charset="0"/>
              </a:rPr>
              <a:t>Integration of all departments of KDMC with rich MIS for decision mak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3" name="Picture 72"/>
          <p:cNvPicPr/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4518" y="1048367"/>
            <a:ext cx="829310" cy="477926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473618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7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467" y="265238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23"/>
          <p:cNvGrpSpPr/>
          <p:nvPr/>
        </p:nvGrpSpPr>
        <p:grpSpPr>
          <a:xfrm>
            <a:off x="9044676" y="1248505"/>
            <a:ext cx="510856" cy="586568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30352"/>
            <a:ext cx="8588256" cy="755522"/>
          </a:xfrm>
        </p:spPr>
        <p:txBody>
          <a:bodyPr/>
          <a:lstStyle/>
          <a:p>
            <a:r>
              <a:rPr lang="en-US" dirty="0"/>
              <a:t>IT transformation of state-owned power distribution companies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1933024" y="1978961"/>
            <a:ext cx="2459077" cy="3910850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51642" y="2057400"/>
            <a:ext cx="2308237" cy="400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866227" y="1978961"/>
            <a:ext cx="2568747" cy="3910850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30537" y="2057400"/>
            <a:ext cx="2308237" cy="400962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83077" rIns="9969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751446" y="1978961"/>
            <a:ext cx="2459077" cy="3910850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09432" y="2057400"/>
            <a:ext cx="2308237" cy="400962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Impact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948965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827859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706754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827856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706750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880283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807740" y="1362430"/>
            <a:ext cx="926132" cy="3077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2117882" y="1223562"/>
            <a:ext cx="2575904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99692" tIns="25322" rIns="42203" bIns="25322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3 State </a:t>
            </a:r>
            <a:br>
              <a:rPr lang="en-US" sz="1200" b="1" dirty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Electricity Boards</a:t>
            </a:r>
            <a:endParaRPr lang="en-GB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827858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cs typeface="Arial" pitchFamily="34" charset="0"/>
              </a:rPr>
              <a:t>Utilities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706752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866224" y="2472340"/>
            <a:ext cx="2543150" cy="341747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buClr>
                <a:srgbClr val="FFFFFF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</a:rPr>
              <a:t>Complete IT Strategy formulation and implementation plan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Customised existing software while ensuring integration with legacy system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Undertook program management on behalf of </a:t>
            </a:r>
            <a:r>
              <a:rPr lang="en-IN" sz="1300" dirty="0" err="1">
                <a:solidFill>
                  <a:srgbClr val="000000"/>
                </a:solidFill>
                <a:cs typeface="Arial" pitchFamily="34" charset="0"/>
              </a:rPr>
              <a:t>Discoms</a:t>
            </a:r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Provided complete bid process management for selection of IT-agency for final implementation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Ensuring Service Oriented Architecture (</a:t>
            </a:r>
            <a:r>
              <a:rPr lang="en-IN" sz="1300" dirty="0" err="1">
                <a:solidFill>
                  <a:srgbClr val="000000"/>
                </a:solidFill>
                <a:cs typeface="Arial" pitchFamily="34" charset="0"/>
              </a:rPr>
              <a:t>SOA</a:t>
            </a: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)</a:t>
            </a: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</p:txBody>
      </p:sp>
      <p:sp>
        <p:nvSpPr>
          <p:cNvPr id="464" name="Rectangle 463"/>
          <p:cNvSpPr/>
          <p:nvPr/>
        </p:nvSpPr>
        <p:spPr>
          <a:xfrm>
            <a:off x="8115034" y="2332858"/>
            <a:ext cx="2142970" cy="35569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~US$ 2.7 Bn revenue improvement expect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Expected reduction of AT&amp;C losses to be &lt;15% in 5 years;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800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Automation and streamlining of core process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Ease of information availability to improv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customer servi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Robust MIS for timely decision-making</a:t>
            </a:r>
          </a:p>
        </p:txBody>
      </p:sp>
      <p:grpSp>
        <p:nvGrpSpPr>
          <p:cNvPr id="6" name="Group 128"/>
          <p:cNvGrpSpPr/>
          <p:nvPr/>
        </p:nvGrpSpPr>
        <p:grpSpPr>
          <a:xfrm>
            <a:off x="7807461" y="3997061"/>
            <a:ext cx="253757" cy="220044"/>
            <a:chOff x="7022650" y="5904633"/>
            <a:chExt cx="392719" cy="340544"/>
          </a:xfrm>
        </p:grpSpPr>
        <p:sp>
          <p:nvSpPr>
            <p:cNvPr id="504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>
                <a:solidFill>
                  <a:srgbClr val="000000"/>
                </a:solidFill>
              </a:endParaRPr>
            </a:p>
          </p:txBody>
        </p:sp>
        <p:sp>
          <p:nvSpPr>
            <p:cNvPr id="505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36" t="-5449" r="-2179" b="-3525"/>
          <a:stretch/>
        </p:blipFill>
        <p:spPr>
          <a:xfrm>
            <a:off x="10932597" y="1010716"/>
            <a:ext cx="972913" cy="4053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64" name="Rectangle 63"/>
          <p:cNvSpPr/>
          <p:nvPr/>
        </p:nvSpPr>
        <p:spPr>
          <a:xfrm>
            <a:off x="1952650" y="2472340"/>
            <a:ext cx="2496258" cy="269050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buClr>
                <a:srgbClr val="FFFFFF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</a:rPr>
              <a:t>Manual, customer-unfriendly processes with no standardized information</a:t>
            </a:r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Poor financial viability of the state power  utilities due to  large T&amp;D losses 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Difficulties in improving  reliability, quality and availability of power supply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Limited transparency in operation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Low consumer satisfaction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5" name="Freeform 45"/>
          <p:cNvSpPr>
            <a:spLocks noEditPoints="1"/>
          </p:cNvSpPr>
          <p:nvPr/>
        </p:nvSpPr>
        <p:spPr bwMode="auto">
          <a:xfrm>
            <a:off x="7857766" y="5500608"/>
            <a:ext cx="202586" cy="202586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 dirty="0">
              <a:solidFill>
                <a:srgbClr val="000000"/>
              </a:solidFill>
            </a:endParaRPr>
          </a:p>
        </p:txBody>
      </p:sp>
      <p:grpSp>
        <p:nvGrpSpPr>
          <p:cNvPr id="76" name="Group 150"/>
          <p:cNvGrpSpPr>
            <a:grpSpLocks noChangeAspect="1"/>
          </p:cNvGrpSpPr>
          <p:nvPr/>
        </p:nvGrpSpPr>
        <p:grpSpPr>
          <a:xfrm>
            <a:off x="7775599" y="2634052"/>
            <a:ext cx="331732" cy="298743"/>
            <a:chOff x="11257543" y="2117339"/>
            <a:chExt cx="486036" cy="437702"/>
          </a:xfrm>
        </p:grpSpPr>
        <p:sp>
          <p:nvSpPr>
            <p:cNvPr id="77" name="Freeform 8"/>
            <p:cNvSpPr>
              <a:spLocks/>
            </p:cNvSpPr>
            <p:nvPr/>
          </p:nvSpPr>
          <p:spPr bwMode="auto">
            <a:xfrm>
              <a:off x="11257543" y="2369219"/>
              <a:ext cx="486036" cy="185822"/>
            </a:xfrm>
            <a:custGeom>
              <a:avLst/>
              <a:gdLst/>
              <a:ahLst/>
              <a:cxnLst>
                <a:cxn ang="0">
                  <a:pos x="464" y="137"/>
                </a:cxn>
                <a:cxn ang="0">
                  <a:pos x="542" y="172"/>
                </a:cxn>
                <a:cxn ang="0">
                  <a:pos x="628" y="152"/>
                </a:cxn>
                <a:cxn ang="0">
                  <a:pos x="686" y="81"/>
                </a:cxn>
                <a:cxn ang="0">
                  <a:pos x="730" y="51"/>
                </a:cxn>
                <a:cxn ang="0">
                  <a:pos x="760" y="78"/>
                </a:cxn>
                <a:cxn ang="0">
                  <a:pos x="726" y="177"/>
                </a:cxn>
                <a:cxn ang="0">
                  <a:pos x="559" y="284"/>
                </a:cxn>
                <a:cxn ang="0">
                  <a:pos x="320" y="265"/>
                </a:cxn>
                <a:cxn ang="0">
                  <a:pos x="159" y="272"/>
                </a:cxn>
                <a:cxn ang="0">
                  <a:pos x="96" y="256"/>
                </a:cxn>
                <a:cxn ang="0">
                  <a:pos x="0" y="160"/>
                </a:cxn>
                <a:cxn ang="0">
                  <a:pos x="188" y="29"/>
                </a:cxn>
                <a:cxn ang="0">
                  <a:pos x="311" y="12"/>
                </a:cxn>
                <a:cxn ang="0">
                  <a:pos x="542" y="35"/>
                </a:cxn>
                <a:cxn ang="0">
                  <a:pos x="592" y="61"/>
                </a:cxn>
                <a:cxn ang="0">
                  <a:pos x="576" y="112"/>
                </a:cxn>
                <a:cxn ang="0">
                  <a:pos x="485" y="131"/>
                </a:cxn>
                <a:cxn ang="0">
                  <a:pos x="464" y="132"/>
                </a:cxn>
                <a:cxn ang="0">
                  <a:pos x="464" y="137"/>
                </a:cxn>
              </a:cxnLst>
              <a:rect l="0" t="0" r="r" b="b"/>
              <a:pathLst>
                <a:path w="766" h="293">
                  <a:moveTo>
                    <a:pt x="464" y="137"/>
                  </a:moveTo>
                  <a:cubicBezTo>
                    <a:pt x="490" y="148"/>
                    <a:pt x="516" y="160"/>
                    <a:pt x="542" y="172"/>
                  </a:cubicBezTo>
                  <a:cubicBezTo>
                    <a:pt x="575" y="186"/>
                    <a:pt x="604" y="179"/>
                    <a:pt x="628" y="152"/>
                  </a:cubicBezTo>
                  <a:cubicBezTo>
                    <a:pt x="648" y="129"/>
                    <a:pt x="665" y="103"/>
                    <a:pt x="686" y="81"/>
                  </a:cubicBezTo>
                  <a:cubicBezTo>
                    <a:pt x="698" y="69"/>
                    <a:pt x="714" y="58"/>
                    <a:pt x="730" y="51"/>
                  </a:cubicBezTo>
                  <a:cubicBezTo>
                    <a:pt x="752" y="42"/>
                    <a:pt x="766" y="54"/>
                    <a:pt x="760" y="78"/>
                  </a:cubicBezTo>
                  <a:cubicBezTo>
                    <a:pt x="751" y="111"/>
                    <a:pt x="740" y="145"/>
                    <a:pt x="726" y="177"/>
                  </a:cubicBezTo>
                  <a:cubicBezTo>
                    <a:pt x="694" y="248"/>
                    <a:pt x="634" y="276"/>
                    <a:pt x="559" y="284"/>
                  </a:cubicBezTo>
                  <a:cubicBezTo>
                    <a:pt x="478" y="293"/>
                    <a:pt x="399" y="275"/>
                    <a:pt x="320" y="265"/>
                  </a:cubicBezTo>
                  <a:cubicBezTo>
                    <a:pt x="266" y="258"/>
                    <a:pt x="210" y="249"/>
                    <a:pt x="159" y="272"/>
                  </a:cubicBezTo>
                  <a:cubicBezTo>
                    <a:pt x="129" y="285"/>
                    <a:pt x="114" y="277"/>
                    <a:pt x="96" y="256"/>
                  </a:cubicBezTo>
                  <a:cubicBezTo>
                    <a:pt x="66" y="223"/>
                    <a:pt x="33" y="193"/>
                    <a:pt x="0" y="160"/>
                  </a:cubicBezTo>
                  <a:cubicBezTo>
                    <a:pt x="63" y="115"/>
                    <a:pt x="124" y="70"/>
                    <a:pt x="188" y="29"/>
                  </a:cubicBezTo>
                  <a:cubicBezTo>
                    <a:pt x="225" y="5"/>
                    <a:pt x="268" y="0"/>
                    <a:pt x="311" y="12"/>
                  </a:cubicBezTo>
                  <a:cubicBezTo>
                    <a:pt x="387" y="32"/>
                    <a:pt x="463" y="41"/>
                    <a:pt x="542" y="35"/>
                  </a:cubicBezTo>
                  <a:cubicBezTo>
                    <a:pt x="563" y="34"/>
                    <a:pt x="581" y="41"/>
                    <a:pt x="592" y="61"/>
                  </a:cubicBezTo>
                  <a:cubicBezTo>
                    <a:pt x="603" y="81"/>
                    <a:pt x="598" y="105"/>
                    <a:pt x="576" y="112"/>
                  </a:cubicBezTo>
                  <a:cubicBezTo>
                    <a:pt x="546" y="121"/>
                    <a:pt x="515" y="125"/>
                    <a:pt x="485" y="131"/>
                  </a:cubicBezTo>
                  <a:cubicBezTo>
                    <a:pt x="478" y="132"/>
                    <a:pt x="471" y="132"/>
                    <a:pt x="464" y="132"/>
                  </a:cubicBezTo>
                  <a:cubicBezTo>
                    <a:pt x="464" y="134"/>
                    <a:pt x="464" y="135"/>
                    <a:pt x="464" y="1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11371667" y="2117339"/>
              <a:ext cx="370569" cy="359829"/>
            </a:xfrm>
            <a:custGeom>
              <a:avLst/>
              <a:gdLst/>
              <a:ahLst/>
              <a:cxnLst>
                <a:cxn ang="0">
                  <a:pos x="347" y="543"/>
                </a:cxn>
                <a:cxn ang="0">
                  <a:pos x="401" y="525"/>
                </a:cxn>
                <a:cxn ang="0">
                  <a:pos x="410" y="430"/>
                </a:cxn>
                <a:cxn ang="0">
                  <a:pos x="399" y="403"/>
                </a:cxn>
                <a:cxn ang="0">
                  <a:pos x="341" y="301"/>
                </a:cxn>
                <a:cxn ang="0">
                  <a:pos x="298" y="284"/>
                </a:cxn>
                <a:cxn ang="0">
                  <a:pos x="294" y="236"/>
                </a:cxn>
                <a:cxn ang="0">
                  <a:pos x="295" y="176"/>
                </a:cxn>
                <a:cxn ang="0">
                  <a:pos x="296" y="172"/>
                </a:cxn>
                <a:cxn ang="0">
                  <a:pos x="355" y="225"/>
                </a:cxn>
                <a:cxn ang="0">
                  <a:pos x="392" y="225"/>
                </a:cxn>
                <a:cxn ang="0">
                  <a:pos x="317" y="137"/>
                </a:cxn>
                <a:cxn ang="0">
                  <a:pos x="294" y="112"/>
                </a:cxn>
                <a:cxn ang="0">
                  <a:pos x="293" y="103"/>
                </a:cxn>
                <a:cxn ang="0">
                  <a:pos x="275" y="103"/>
                </a:cxn>
                <a:cxn ang="0">
                  <a:pos x="274" y="114"/>
                </a:cxn>
                <a:cxn ang="0">
                  <a:pos x="255" y="137"/>
                </a:cxn>
                <a:cxn ang="0">
                  <a:pos x="173" y="223"/>
                </a:cxn>
                <a:cxn ang="0">
                  <a:pos x="246" y="316"/>
                </a:cxn>
                <a:cxn ang="0">
                  <a:pos x="274" y="353"/>
                </a:cxn>
                <a:cxn ang="0">
                  <a:pos x="274" y="417"/>
                </a:cxn>
                <a:cxn ang="0">
                  <a:pos x="220" y="411"/>
                </a:cxn>
                <a:cxn ang="0">
                  <a:pos x="210" y="399"/>
                </a:cxn>
                <a:cxn ang="0">
                  <a:pos x="179" y="376"/>
                </a:cxn>
                <a:cxn ang="0">
                  <a:pos x="166" y="377"/>
                </a:cxn>
                <a:cxn ang="0">
                  <a:pos x="168" y="398"/>
                </a:cxn>
                <a:cxn ang="0">
                  <a:pos x="22" y="402"/>
                </a:cxn>
                <a:cxn ang="0">
                  <a:pos x="46" y="182"/>
                </a:cxn>
                <a:cxn ang="0">
                  <a:pos x="455" y="105"/>
                </a:cxn>
                <a:cxn ang="0">
                  <a:pos x="535" y="427"/>
                </a:cxn>
                <a:cxn ang="0">
                  <a:pos x="530" y="436"/>
                </a:cxn>
                <a:cxn ang="0">
                  <a:pos x="442" y="532"/>
                </a:cxn>
                <a:cxn ang="0">
                  <a:pos x="347" y="543"/>
                </a:cxn>
              </a:cxnLst>
              <a:rect l="0" t="0" r="r" b="b"/>
              <a:pathLst>
                <a:path w="584" h="567">
                  <a:moveTo>
                    <a:pt x="347" y="543"/>
                  </a:moveTo>
                  <a:cubicBezTo>
                    <a:pt x="366" y="537"/>
                    <a:pt x="384" y="532"/>
                    <a:pt x="401" y="525"/>
                  </a:cubicBezTo>
                  <a:cubicBezTo>
                    <a:pt x="445" y="509"/>
                    <a:pt x="442" y="452"/>
                    <a:pt x="410" y="430"/>
                  </a:cubicBezTo>
                  <a:cubicBezTo>
                    <a:pt x="397" y="422"/>
                    <a:pt x="396" y="415"/>
                    <a:pt x="399" y="403"/>
                  </a:cubicBezTo>
                  <a:cubicBezTo>
                    <a:pt x="409" y="353"/>
                    <a:pt x="389" y="319"/>
                    <a:pt x="341" y="301"/>
                  </a:cubicBezTo>
                  <a:cubicBezTo>
                    <a:pt x="326" y="296"/>
                    <a:pt x="305" y="295"/>
                    <a:pt x="298" y="284"/>
                  </a:cubicBezTo>
                  <a:cubicBezTo>
                    <a:pt x="290" y="272"/>
                    <a:pt x="295" y="252"/>
                    <a:pt x="294" y="236"/>
                  </a:cubicBezTo>
                  <a:cubicBezTo>
                    <a:pt x="294" y="216"/>
                    <a:pt x="295" y="196"/>
                    <a:pt x="295" y="176"/>
                  </a:cubicBezTo>
                  <a:cubicBezTo>
                    <a:pt x="295" y="174"/>
                    <a:pt x="295" y="173"/>
                    <a:pt x="296" y="172"/>
                  </a:cubicBezTo>
                  <a:cubicBezTo>
                    <a:pt x="324" y="168"/>
                    <a:pt x="338" y="180"/>
                    <a:pt x="355" y="225"/>
                  </a:cubicBezTo>
                  <a:cubicBezTo>
                    <a:pt x="367" y="225"/>
                    <a:pt x="380" y="225"/>
                    <a:pt x="392" y="225"/>
                  </a:cubicBezTo>
                  <a:cubicBezTo>
                    <a:pt x="387" y="175"/>
                    <a:pt x="362" y="144"/>
                    <a:pt x="317" y="137"/>
                  </a:cubicBezTo>
                  <a:cubicBezTo>
                    <a:pt x="299" y="135"/>
                    <a:pt x="291" y="129"/>
                    <a:pt x="294" y="112"/>
                  </a:cubicBezTo>
                  <a:cubicBezTo>
                    <a:pt x="295" y="109"/>
                    <a:pt x="294" y="107"/>
                    <a:pt x="293" y="103"/>
                  </a:cubicBezTo>
                  <a:cubicBezTo>
                    <a:pt x="287" y="103"/>
                    <a:pt x="282" y="103"/>
                    <a:pt x="275" y="103"/>
                  </a:cubicBezTo>
                  <a:cubicBezTo>
                    <a:pt x="275" y="107"/>
                    <a:pt x="273" y="111"/>
                    <a:pt x="274" y="114"/>
                  </a:cubicBezTo>
                  <a:cubicBezTo>
                    <a:pt x="276" y="129"/>
                    <a:pt x="271" y="135"/>
                    <a:pt x="255" y="137"/>
                  </a:cubicBezTo>
                  <a:cubicBezTo>
                    <a:pt x="211" y="140"/>
                    <a:pt x="175" y="179"/>
                    <a:pt x="173" y="223"/>
                  </a:cubicBezTo>
                  <a:cubicBezTo>
                    <a:pt x="170" y="269"/>
                    <a:pt x="195" y="303"/>
                    <a:pt x="246" y="316"/>
                  </a:cubicBezTo>
                  <a:cubicBezTo>
                    <a:pt x="270" y="321"/>
                    <a:pt x="276" y="331"/>
                    <a:pt x="274" y="353"/>
                  </a:cubicBezTo>
                  <a:cubicBezTo>
                    <a:pt x="272" y="373"/>
                    <a:pt x="274" y="394"/>
                    <a:pt x="274" y="417"/>
                  </a:cubicBezTo>
                  <a:cubicBezTo>
                    <a:pt x="254" y="415"/>
                    <a:pt x="237" y="414"/>
                    <a:pt x="220" y="411"/>
                  </a:cubicBezTo>
                  <a:cubicBezTo>
                    <a:pt x="216" y="410"/>
                    <a:pt x="210" y="403"/>
                    <a:pt x="210" y="399"/>
                  </a:cubicBezTo>
                  <a:cubicBezTo>
                    <a:pt x="210" y="376"/>
                    <a:pt x="197" y="374"/>
                    <a:pt x="179" y="376"/>
                  </a:cubicBezTo>
                  <a:cubicBezTo>
                    <a:pt x="175" y="377"/>
                    <a:pt x="171" y="377"/>
                    <a:pt x="166" y="377"/>
                  </a:cubicBezTo>
                  <a:cubicBezTo>
                    <a:pt x="167" y="383"/>
                    <a:pt x="167" y="389"/>
                    <a:pt x="168" y="398"/>
                  </a:cubicBezTo>
                  <a:cubicBezTo>
                    <a:pt x="119" y="388"/>
                    <a:pt x="70" y="377"/>
                    <a:pt x="22" y="402"/>
                  </a:cubicBezTo>
                  <a:cubicBezTo>
                    <a:pt x="0" y="323"/>
                    <a:pt x="6" y="250"/>
                    <a:pt x="46" y="182"/>
                  </a:cubicBezTo>
                  <a:cubicBezTo>
                    <a:pt x="132" y="36"/>
                    <a:pt x="321" y="0"/>
                    <a:pt x="455" y="105"/>
                  </a:cubicBezTo>
                  <a:cubicBezTo>
                    <a:pt x="550" y="179"/>
                    <a:pt x="584" y="316"/>
                    <a:pt x="535" y="427"/>
                  </a:cubicBezTo>
                  <a:cubicBezTo>
                    <a:pt x="533" y="430"/>
                    <a:pt x="533" y="435"/>
                    <a:pt x="530" y="436"/>
                  </a:cubicBezTo>
                  <a:cubicBezTo>
                    <a:pt x="490" y="458"/>
                    <a:pt x="472" y="501"/>
                    <a:pt x="442" y="532"/>
                  </a:cubicBezTo>
                  <a:cubicBezTo>
                    <a:pt x="410" y="565"/>
                    <a:pt x="390" y="567"/>
                    <a:pt x="347" y="54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10"/>
            <p:cNvSpPr>
              <a:spLocks/>
            </p:cNvSpPr>
            <p:nvPr/>
          </p:nvSpPr>
          <p:spPr bwMode="auto">
            <a:xfrm>
              <a:off x="11506200" y="2224751"/>
              <a:ext cx="38668" cy="69549"/>
            </a:xfrm>
            <a:custGeom>
              <a:avLst/>
              <a:gdLst/>
              <a:ahLst/>
              <a:cxnLst>
                <a:cxn ang="0">
                  <a:pos x="61" y="1"/>
                </a:cxn>
                <a:cxn ang="0">
                  <a:pos x="61" y="110"/>
                </a:cxn>
                <a:cxn ang="0">
                  <a:pos x="1" y="55"/>
                </a:cxn>
                <a:cxn ang="0">
                  <a:pos x="61" y="1"/>
                </a:cxn>
              </a:cxnLst>
              <a:rect l="0" t="0" r="r" b="b"/>
              <a:pathLst>
                <a:path w="61" h="110">
                  <a:moveTo>
                    <a:pt x="61" y="1"/>
                  </a:moveTo>
                  <a:cubicBezTo>
                    <a:pt x="61" y="38"/>
                    <a:pt x="61" y="74"/>
                    <a:pt x="61" y="110"/>
                  </a:cubicBezTo>
                  <a:cubicBezTo>
                    <a:pt x="26" y="110"/>
                    <a:pt x="0" y="86"/>
                    <a:pt x="1" y="55"/>
                  </a:cubicBezTo>
                  <a:cubicBezTo>
                    <a:pt x="3" y="21"/>
                    <a:pt x="25" y="0"/>
                    <a:pt x="61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11"/>
            <p:cNvSpPr>
              <a:spLocks/>
            </p:cNvSpPr>
            <p:nvPr/>
          </p:nvSpPr>
          <p:spPr bwMode="auto">
            <a:xfrm>
              <a:off x="11558831" y="2327329"/>
              <a:ext cx="49678" cy="53974"/>
            </a:xfrm>
            <a:custGeom>
              <a:avLst/>
              <a:gdLst/>
              <a:ahLst/>
              <a:cxnLst>
                <a:cxn ang="0">
                  <a:pos x="60" y="81"/>
                </a:cxn>
                <a:cxn ang="0">
                  <a:pos x="0" y="85"/>
                </a:cxn>
                <a:cxn ang="0">
                  <a:pos x="1" y="0"/>
                </a:cxn>
                <a:cxn ang="0">
                  <a:pos x="60" y="81"/>
                </a:cxn>
              </a:cxnLst>
              <a:rect l="0" t="0" r="r" b="b"/>
              <a:pathLst>
                <a:path w="78" h="85">
                  <a:moveTo>
                    <a:pt x="60" y="81"/>
                  </a:moveTo>
                  <a:cubicBezTo>
                    <a:pt x="41" y="82"/>
                    <a:pt x="21" y="84"/>
                    <a:pt x="0" y="85"/>
                  </a:cubicBezTo>
                  <a:cubicBezTo>
                    <a:pt x="0" y="55"/>
                    <a:pt x="0" y="28"/>
                    <a:pt x="1" y="0"/>
                  </a:cubicBezTo>
                  <a:cubicBezTo>
                    <a:pt x="39" y="3"/>
                    <a:pt x="78" y="31"/>
                    <a:pt x="60" y="8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1" name="Freeform 105"/>
          <p:cNvSpPr>
            <a:spLocks noChangeAspect="1" noEditPoints="1"/>
          </p:cNvSpPr>
          <p:nvPr/>
        </p:nvSpPr>
        <p:spPr bwMode="auto">
          <a:xfrm>
            <a:off x="7841567" y="4736068"/>
            <a:ext cx="197195" cy="298743"/>
          </a:xfrm>
          <a:custGeom>
            <a:avLst/>
            <a:gdLst/>
            <a:ahLst/>
            <a:cxnLst>
              <a:cxn ang="0">
                <a:pos x="37" y="49"/>
              </a:cxn>
              <a:cxn ang="0">
                <a:pos x="42" y="56"/>
              </a:cxn>
              <a:cxn ang="0">
                <a:pos x="63" y="56"/>
              </a:cxn>
              <a:cxn ang="0">
                <a:pos x="67" y="49"/>
              </a:cxn>
              <a:cxn ang="0">
                <a:pos x="63" y="42"/>
              </a:cxn>
              <a:cxn ang="0">
                <a:pos x="42" y="42"/>
              </a:cxn>
              <a:cxn ang="0">
                <a:pos x="37" y="49"/>
              </a:cxn>
              <a:cxn ang="0">
                <a:pos x="66" y="59"/>
              </a:cxn>
              <a:cxn ang="0">
                <a:pos x="38" y="59"/>
              </a:cxn>
              <a:cxn ang="0">
                <a:pos x="33" y="66"/>
              </a:cxn>
              <a:cxn ang="0">
                <a:pos x="38" y="73"/>
              </a:cxn>
              <a:cxn ang="0">
                <a:pos x="66" y="73"/>
              </a:cxn>
              <a:cxn ang="0">
                <a:pos x="71" y="66"/>
              </a:cxn>
              <a:cxn ang="0">
                <a:pos x="66" y="59"/>
              </a:cxn>
              <a:cxn ang="0">
                <a:pos x="64" y="76"/>
              </a:cxn>
              <a:cxn ang="0">
                <a:pos x="41" y="76"/>
              </a:cxn>
              <a:cxn ang="0">
                <a:pos x="37" y="83"/>
              </a:cxn>
              <a:cxn ang="0">
                <a:pos x="41" y="90"/>
              </a:cxn>
              <a:cxn ang="0">
                <a:pos x="64" y="90"/>
              </a:cxn>
              <a:cxn ang="0">
                <a:pos x="69" y="83"/>
              </a:cxn>
              <a:cxn ang="0">
                <a:pos x="64" y="76"/>
              </a:cxn>
              <a:cxn ang="0">
                <a:pos x="58" y="93"/>
              </a:cxn>
              <a:cxn ang="0">
                <a:pos x="45" y="93"/>
              </a:cxn>
              <a:cxn ang="0">
                <a:pos x="41" y="100"/>
              </a:cxn>
              <a:cxn ang="0">
                <a:pos x="45" y="107"/>
              </a:cxn>
              <a:cxn ang="0">
                <a:pos x="58" y="107"/>
              </a:cxn>
              <a:cxn ang="0">
                <a:pos x="63" y="100"/>
              </a:cxn>
              <a:cxn ang="0">
                <a:pos x="58" y="93"/>
              </a:cxn>
              <a:cxn ang="0">
                <a:pos x="40" y="92"/>
              </a:cxn>
              <a:cxn ang="0">
                <a:pos x="35" y="89"/>
              </a:cxn>
              <a:cxn ang="0">
                <a:pos x="34" y="83"/>
              </a:cxn>
              <a:cxn ang="0">
                <a:pos x="35" y="77"/>
              </a:cxn>
              <a:cxn ang="0">
                <a:pos x="36" y="76"/>
              </a:cxn>
              <a:cxn ang="0">
                <a:pos x="31" y="72"/>
              </a:cxn>
              <a:cxn ang="0">
                <a:pos x="30" y="66"/>
              </a:cxn>
              <a:cxn ang="0">
                <a:pos x="31" y="60"/>
              </a:cxn>
              <a:cxn ang="0">
                <a:pos x="36" y="57"/>
              </a:cxn>
              <a:cxn ang="0">
                <a:pos x="35" y="56"/>
              </a:cxn>
              <a:cxn ang="0">
                <a:pos x="34" y="49"/>
              </a:cxn>
              <a:cxn ang="0">
                <a:pos x="35" y="43"/>
              </a:cxn>
              <a:cxn ang="0">
                <a:pos x="41" y="40"/>
              </a:cxn>
              <a:cxn ang="0">
                <a:pos x="46" y="40"/>
              </a:cxn>
              <a:cxn ang="0">
                <a:pos x="55" y="16"/>
              </a:cxn>
              <a:cxn ang="0">
                <a:pos x="38" y="2"/>
              </a:cxn>
              <a:cxn ang="0">
                <a:pos x="38" y="11"/>
              </a:cxn>
              <a:cxn ang="0">
                <a:pos x="11" y="43"/>
              </a:cxn>
              <a:cxn ang="0">
                <a:pos x="0" y="61"/>
              </a:cxn>
              <a:cxn ang="0">
                <a:pos x="0" y="85"/>
              </a:cxn>
              <a:cxn ang="0">
                <a:pos x="23" y="107"/>
              </a:cxn>
              <a:cxn ang="0">
                <a:pos x="39" y="107"/>
              </a:cxn>
              <a:cxn ang="0">
                <a:pos x="39" y="106"/>
              </a:cxn>
              <a:cxn ang="0">
                <a:pos x="38" y="100"/>
              </a:cxn>
              <a:cxn ang="0">
                <a:pos x="39" y="94"/>
              </a:cxn>
              <a:cxn ang="0">
                <a:pos x="40" y="92"/>
              </a:cxn>
            </a:cxnLst>
            <a:rect l="0" t="0" r="r" b="b"/>
            <a:pathLst>
              <a:path w="71" h="107">
                <a:moveTo>
                  <a:pt x="37" y="49"/>
                </a:moveTo>
                <a:cubicBezTo>
                  <a:pt x="37" y="53"/>
                  <a:pt x="38" y="56"/>
                  <a:pt x="42" y="56"/>
                </a:cubicBezTo>
                <a:cubicBezTo>
                  <a:pt x="63" y="56"/>
                  <a:pt x="63" y="56"/>
                  <a:pt x="63" y="56"/>
                </a:cubicBezTo>
                <a:cubicBezTo>
                  <a:pt x="67" y="56"/>
                  <a:pt x="67" y="53"/>
                  <a:pt x="67" y="49"/>
                </a:cubicBezTo>
                <a:cubicBezTo>
                  <a:pt x="67" y="46"/>
                  <a:pt x="67" y="42"/>
                  <a:pt x="63" y="42"/>
                </a:cubicBezTo>
                <a:cubicBezTo>
                  <a:pt x="42" y="42"/>
                  <a:pt x="42" y="42"/>
                  <a:pt x="42" y="42"/>
                </a:cubicBezTo>
                <a:cubicBezTo>
                  <a:pt x="38" y="42"/>
                  <a:pt x="37" y="46"/>
                  <a:pt x="37" y="49"/>
                </a:cubicBezTo>
                <a:close/>
                <a:moveTo>
                  <a:pt x="66" y="59"/>
                </a:moveTo>
                <a:cubicBezTo>
                  <a:pt x="38" y="59"/>
                  <a:pt x="38" y="59"/>
                  <a:pt x="38" y="59"/>
                </a:cubicBezTo>
                <a:cubicBezTo>
                  <a:pt x="34" y="59"/>
                  <a:pt x="33" y="62"/>
                  <a:pt x="33" y="66"/>
                </a:cubicBezTo>
                <a:cubicBezTo>
                  <a:pt x="33" y="70"/>
                  <a:pt x="34" y="73"/>
                  <a:pt x="38" y="73"/>
                </a:cubicBezTo>
                <a:cubicBezTo>
                  <a:pt x="66" y="73"/>
                  <a:pt x="66" y="73"/>
                  <a:pt x="66" y="73"/>
                </a:cubicBezTo>
                <a:cubicBezTo>
                  <a:pt x="70" y="73"/>
                  <a:pt x="71" y="70"/>
                  <a:pt x="71" y="66"/>
                </a:cubicBezTo>
                <a:cubicBezTo>
                  <a:pt x="71" y="62"/>
                  <a:pt x="70" y="59"/>
                  <a:pt x="66" y="59"/>
                </a:cubicBezTo>
                <a:close/>
                <a:moveTo>
                  <a:pt x="64" y="76"/>
                </a:moveTo>
                <a:cubicBezTo>
                  <a:pt x="41" y="76"/>
                  <a:pt x="41" y="76"/>
                  <a:pt x="41" y="76"/>
                </a:cubicBezTo>
                <a:cubicBezTo>
                  <a:pt x="38" y="76"/>
                  <a:pt x="37" y="79"/>
                  <a:pt x="37" y="83"/>
                </a:cubicBezTo>
                <a:cubicBezTo>
                  <a:pt x="37" y="87"/>
                  <a:pt x="38" y="90"/>
                  <a:pt x="41" y="90"/>
                </a:cubicBezTo>
                <a:cubicBezTo>
                  <a:pt x="64" y="90"/>
                  <a:pt x="64" y="90"/>
                  <a:pt x="64" y="90"/>
                </a:cubicBezTo>
                <a:cubicBezTo>
                  <a:pt x="68" y="90"/>
                  <a:pt x="69" y="87"/>
                  <a:pt x="69" y="83"/>
                </a:cubicBezTo>
                <a:cubicBezTo>
                  <a:pt x="69" y="79"/>
                  <a:pt x="68" y="76"/>
                  <a:pt x="64" y="76"/>
                </a:cubicBezTo>
                <a:close/>
                <a:moveTo>
                  <a:pt x="58" y="93"/>
                </a:moveTo>
                <a:cubicBezTo>
                  <a:pt x="45" y="93"/>
                  <a:pt x="45" y="93"/>
                  <a:pt x="45" y="93"/>
                </a:cubicBezTo>
                <a:cubicBezTo>
                  <a:pt x="41" y="93"/>
                  <a:pt x="41" y="96"/>
                  <a:pt x="41" y="100"/>
                </a:cubicBezTo>
                <a:cubicBezTo>
                  <a:pt x="41" y="104"/>
                  <a:pt x="41" y="107"/>
                  <a:pt x="45" y="107"/>
                </a:cubicBezTo>
                <a:cubicBezTo>
                  <a:pt x="58" y="107"/>
                  <a:pt x="58" y="107"/>
                  <a:pt x="58" y="107"/>
                </a:cubicBezTo>
                <a:cubicBezTo>
                  <a:pt x="62" y="107"/>
                  <a:pt x="63" y="104"/>
                  <a:pt x="63" y="100"/>
                </a:cubicBezTo>
                <a:cubicBezTo>
                  <a:pt x="63" y="96"/>
                  <a:pt x="62" y="93"/>
                  <a:pt x="58" y="93"/>
                </a:cubicBezTo>
                <a:close/>
                <a:moveTo>
                  <a:pt x="40" y="92"/>
                </a:moveTo>
                <a:cubicBezTo>
                  <a:pt x="37" y="92"/>
                  <a:pt x="36" y="90"/>
                  <a:pt x="35" y="89"/>
                </a:cubicBezTo>
                <a:cubicBezTo>
                  <a:pt x="34" y="88"/>
                  <a:pt x="34" y="86"/>
                  <a:pt x="34" y="83"/>
                </a:cubicBezTo>
                <a:cubicBezTo>
                  <a:pt x="34" y="80"/>
                  <a:pt x="34" y="78"/>
                  <a:pt x="35" y="77"/>
                </a:cubicBezTo>
                <a:cubicBezTo>
                  <a:pt x="35" y="76"/>
                  <a:pt x="36" y="76"/>
                  <a:pt x="36" y="76"/>
                </a:cubicBezTo>
                <a:cubicBezTo>
                  <a:pt x="33" y="75"/>
                  <a:pt x="32" y="74"/>
                  <a:pt x="31" y="72"/>
                </a:cubicBezTo>
                <a:cubicBezTo>
                  <a:pt x="30" y="71"/>
                  <a:pt x="30" y="69"/>
                  <a:pt x="30" y="66"/>
                </a:cubicBezTo>
                <a:cubicBezTo>
                  <a:pt x="30" y="63"/>
                  <a:pt x="30" y="61"/>
                  <a:pt x="31" y="60"/>
                </a:cubicBezTo>
                <a:cubicBezTo>
                  <a:pt x="32" y="59"/>
                  <a:pt x="33" y="57"/>
                  <a:pt x="36" y="57"/>
                </a:cubicBezTo>
                <a:cubicBezTo>
                  <a:pt x="36" y="56"/>
                  <a:pt x="35" y="56"/>
                  <a:pt x="35" y="56"/>
                </a:cubicBezTo>
                <a:cubicBezTo>
                  <a:pt x="34" y="54"/>
                  <a:pt x="34" y="52"/>
                  <a:pt x="34" y="49"/>
                </a:cubicBezTo>
                <a:cubicBezTo>
                  <a:pt x="34" y="47"/>
                  <a:pt x="34" y="45"/>
                  <a:pt x="35" y="43"/>
                </a:cubicBezTo>
                <a:cubicBezTo>
                  <a:pt x="36" y="42"/>
                  <a:pt x="38" y="40"/>
                  <a:pt x="41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37"/>
                  <a:pt x="55" y="30"/>
                  <a:pt x="55" y="16"/>
                </a:cubicBezTo>
                <a:cubicBezTo>
                  <a:pt x="55" y="0"/>
                  <a:pt x="38" y="2"/>
                  <a:pt x="38" y="2"/>
                </a:cubicBezTo>
                <a:cubicBezTo>
                  <a:pt x="38" y="2"/>
                  <a:pt x="38" y="6"/>
                  <a:pt x="38" y="11"/>
                </a:cubicBezTo>
                <a:cubicBezTo>
                  <a:pt x="36" y="22"/>
                  <a:pt x="16" y="39"/>
                  <a:pt x="11" y="43"/>
                </a:cubicBezTo>
                <a:cubicBezTo>
                  <a:pt x="4" y="47"/>
                  <a:pt x="0" y="53"/>
                  <a:pt x="0" y="61"/>
                </a:cubicBezTo>
                <a:cubicBezTo>
                  <a:pt x="0" y="61"/>
                  <a:pt x="0" y="85"/>
                  <a:pt x="0" y="85"/>
                </a:cubicBezTo>
                <a:cubicBezTo>
                  <a:pt x="0" y="97"/>
                  <a:pt x="10" y="107"/>
                  <a:pt x="23" y="107"/>
                </a:cubicBezTo>
                <a:cubicBezTo>
                  <a:pt x="39" y="107"/>
                  <a:pt x="39" y="107"/>
                  <a:pt x="39" y="107"/>
                </a:cubicBezTo>
                <a:cubicBezTo>
                  <a:pt x="39" y="107"/>
                  <a:pt x="39" y="106"/>
                  <a:pt x="39" y="106"/>
                </a:cubicBezTo>
                <a:cubicBezTo>
                  <a:pt x="38" y="105"/>
                  <a:pt x="38" y="103"/>
                  <a:pt x="38" y="100"/>
                </a:cubicBezTo>
                <a:cubicBezTo>
                  <a:pt x="38" y="97"/>
                  <a:pt x="38" y="95"/>
                  <a:pt x="39" y="94"/>
                </a:cubicBezTo>
                <a:cubicBezTo>
                  <a:pt x="39" y="93"/>
                  <a:pt x="39" y="93"/>
                  <a:pt x="40" y="92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13</a:t>
            </a:r>
            <a:endParaRPr lang="en-US" sz="800" kern="0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4477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7184"/>
            <a:ext cx="11233151" cy="685801"/>
          </a:xfrm>
        </p:spPr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b="0" dirty="0"/>
              <a:t> 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ablers for a Win-Win partnership in eGovernanc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5427" y="992985"/>
            <a:ext cx="11596960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There </a:t>
            </a:r>
            <a:r>
              <a:rPr lang="en-US" dirty="0"/>
              <a:t>are several issues which need to be ironed out for making a win-win partnership </a:t>
            </a:r>
            <a:r>
              <a:rPr lang="en-US" dirty="0" smtClean="0"/>
              <a:t>for both Government and IT </a:t>
            </a:r>
            <a:r>
              <a:rPr lang="en-US" dirty="0"/>
              <a:t>Industry </a:t>
            </a:r>
            <a:r>
              <a:rPr lang="en-US" dirty="0" smtClean="0"/>
              <a:t>in eGovernance</a:t>
            </a:r>
            <a:endParaRPr lang="en-US" dirty="0"/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order to overcome </a:t>
            </a:r>
            <a:r>
              <a:rPr lang="en-US" dirty="0" smtClean="0"/>
              <a:t>the issues, </a:t>
            </a:r>
            <a:r>
              <a:rPr lang="en-US" dirty="0"/>
              <a:t>some key enablers- categorized as short term/immediate enablers and medium term enablers- </a:t>
            </a:r>
            <a:r>
              <a:rPr lang="en-US" dirty="0" smtClean="0"/>
              <a:t>are highlighted.</a:t>
            </a: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hese enablers have been identified based on the detailed NASSCOM study </a:t>
            </a:r>
            <a:r>
              <a:rPr lang="en-US" dirty="0" smtClean="0"/>
              <a:t>in </a:t>
            </a:r>
            <a:r>
              <a:rPr lang="en-US" dirty="0"/>
              <a:t>2010, through an </a:t>
            </a:r>
            <a:r>
              <a:rPr lang="en-US" dirty="0" smtClean="0"/>
              <a:t>extensive </a:t>
            </a:r>
            <a:r>
              <a:rPr lang="en-US" dirty="0"/>
              <a:t>research and interview process, both with the government and Industry </a:t>
            </a:r>
            <a:r>
              <a:rPr lang="en-US" dirty="0" smtClean="0"/>
              <a:t>partners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i="1" dirty="0"/>
              <a:t>Short term/Immediate Enablers </a:t>
            </a:r>
            <a:endParaRPr lang="en-US" b="1" i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algn="just"/>
            <a:r>
              <a:rPr lang="en-US" dirty="0"/>
              <a:t>	a) </a:t>
            </a:r>
            <a:r>
              <a:rPr lang="en-US" dirty="0" smtClean="0"/>
              <a:t> Constitution </a:t>
            </a:r>
            <a:r>
              <a:rPr lang="en-US" dirty="0"/>
              <a:t>of </a:t>
            </a:r>
            <a:r>
              <a:rPr lang="en-US" b="1" dirty="0"/>
              <a:t>Project Development Fund </a:t>
            </a:r>
            <a:endParaRPr lang="en-US" b="1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	b) </a:t>
            </a:r>
            <a:r>
              <a:rPr lang="en-US" dirty="0" smtClean="0"/>
              <a:t> </a:t>
            </a:r>
            <a:r>
              <a:rPr lang="en-US" b="1" dirty="0" smtClean="0"/>
              <a:t>Procurement </a:t>
            </a:r>
            <a:r>
              <a:rPr lang="en-US" b="1" dirty="0"/>
              <a:t>challenges </a:t>
            </a:r>
            <a:r>
              <a:rPr lang="en-US" dirty="0"/>
              <a:t>- stringent SLA’s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            </a:t>
            </a:r>
            <a:r>
              <a:rPr lang="en-US" dirty="0" smtClean="0"/>
              <a:t>  </a:t>
            </a:r>
            <a:r>
              <a:rPr lang="en-US" dirty="0"/>
              <a:t>c) </a:t>
            </a:r>
            <a:r>
              <a:rPr lang="en-US" dirty="0" smtClean="0"/>
              <a:t> </a:t>
            </a:r>
            <a:r>
              <a:rPr lang="en-US" b="1" dirty="0" smtClean="0"/>
              <a:t>Definition </a:t>
            </a:r>
            <a:r>
              <a:rPr lang="en-US" b="1" dirty="0"/>
              <a:t>of go-live </a:t>
            </a:r>
            <a:r>
              <a:rPr lang="en-US" dirty="0"/>
              <a:t>of an application is not define </a:t>
            </a:r>
            <a:r>
              <a:rPr lang="en-US" dirty="0" smtClean="0"/>
              <a:t>properly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              d</a:t>
            </a:r>
            <a:r>
              <a:rPr lang="en-US" dirty="0"/>
              <a:t>) </a:t>
            </a:r>
            <a:r>
              <a:rPr lang="en-US" dirty="0" smtClean="0"/>
              <a:t> </a:t>
            </a:r>
            <a:r>
              <a:rPr lang="en-US" b="1" dirty="0" smtClean="0"/>
              <a:t>Unlimited </a:t>
            </a:r>
            <a:r>
              <a:rPr lang="en-US" b="1" dirty="0"/>
              <a:t>liability terms </a:t>
            </a:r>
            <a:r>
              <a:rPr lang="en-US" dirty="0"/>
              <a:t>faced by implementation partner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3516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863" y="487306"/>
            <a:ext cx="8221284" cy="685801"/>
          </a:xfrm>
        </p:spPr>
        <p:txBody>
          <a:bodyPr/>
          <a:lstStyle/>
          <a:p>
            <a:r>
              <a:rPr lang="en-US" b="0" dirty="0"/>
              <a:t> </a:t>
            </a:r>
            <a:r>
              <a:rPr lang="en-US" sz="1600" kern="1200" dirty="0">
                <a:solidFill>
                  <a:schemeClr val="tx1"/>
                </a:solidFill>
              </a:rPr>
              <a:t>Enablers for a Win-Win partnership in eGovernance </a:t>
            </a:r>
            <a:r>
              <a:rPr lang="en-US" sz="1600" kern="1200" dirty="0" smtClean="0">
                <a:solidFill>
                  <a:schemeClr val="tx1"/>
                </a:solidFill>
              </a:rPr>
              <a:t>		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73376" y="997297"/>
            <a:ext cx="1143901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lphaLcParenR" startAt="6"/>
            </a:pPr>
            <a:endParaRPr lang="en-US" dirty="0" smtClean="0"/>
          </a:p>
          <a:p>
            <a:pPr algn="just"/>
            <a:r>
              <a:rPr lang="en-US" dirty="0" smtClean="0"/>
              <a:t>e</a:t>
            </a:r>
            <a:r>
              <a:rPr lang="en-US" dirty="0"/>
              <a:t>) Turnkey Projects </a:t>
            </a:r>
            <a:r>
              <a:rPr lang="en-US" b="1" dirty="0"/>
              <a:t>have several elements which are not core to IT Services </a:t>
            </a:r>
            <a:r>
              <a:rPr lang="en-US" dirty="0"/>
              <a:t>like civil works, site </a:t>
            </a:r>
          </a:p>
          <a:p>
            <a:pPr algn="just"/>
            <a:r>
              <a:rPr lang="en-US" dirty="0"/>
              <a:t>     preparation, provisioning of power and backup power etc.</a:t>
            </a:r>
          </a:p>
          <a:p>
            <a:pPr algn="just"/>
            <a:endParaRPr lang="en-US" dirty="0"/>
          </a:p>
          <a:p>
            <a:pPr marL="342900" indent="-342900" algn="just">
              <a:buAutoNum type="alphaLcParenR" startAt="6"/>
            </a:pPr>
            <a:r>
              <a:rPr lang="en-US" dirty="0" smtClean="0"/>
              <a:t>There is hardly any </a:t>
            </a:r>
            <a:r>
              <a:rPr lang="en-US" dirty="0"/>
              <a:t>provision </a:t>
            </a:r>
            <a:r>
              <a:rPr lang="en-US" b="1" dirty="0"/>
              <a:t>to accommodate for work and payments related to significant </a:t>
            </a:r>
            <a:endParaRPr lang="en-US" b="1" dirty="0" smtClean="0"/>
          </a:p>
          <a:p>
            <a:pPr algn="just"/>
            <a:r>
              <a:rPr lang="en-US" b="1" dirty="0"/>
              <a:t> </a:t>
            </a:r>
            <a:r>
              <a:rPr lang="en-US" b="1" dirty="0" smtClean="0"/>
              <a:t>     scope </a:t>
            </a:r>
            <a:r>
              <a:rPr lang="en-US" b="1" dirty="0"/>
              <a:t>creep </a:t>
            </a:r>
            <a:r>
              <a:rPr lang="en-US" b="1" dirty="0" smtClean="0"/>
              <a:t>for </a:t>
            </a:r>
            <a:r>
              <a:rPr lang="en-US" b="1" dirty="0"/>
              <a:t>the modified requirements of the user </a:t>
            </a:r>
            <a:r>
              <a:rPr lang="en-US" b="1" dirty="0" smtClean="0"/>
              <a:t>especially during </a:t>
            </a:r>
            <a:r>
              <a:rPr lang="en-US" b="1" dirty="0"/>
              <a:t>and post go-live phases </a:t>
            </a:r>
            <a:endParaRPr lang="en-US" b="1" dirty="0" smtClean="0"/>
          </a:p>
          <a:p>
            <a:pPr algn="just"/>
            <a:endParaRPr lang="en-US" dirty="0" smtClean="0"/>
          </a:p>
          <a:p>
            <a:pPr marL="342900" indent="-342900" algn="just">
              <a:buAutoNum type="alphaLcParenR" startAt="7"/>
            </a:pPr>
            <a:r>
              <a:rPr lang="en-US" b="1" dirty="0" smtClean="0"/>
              <a:t>Payment </a:t>
            </a:r>
            <a:r>
              <a:rPr lang="en-US" b="1" dirty="0"/>
              <a:t>terms and conditions</a:t>
            </a:r>
            <a:r>
              <a:rPr lang="en-US" dirty="0"/>
              <a:t>, though milestone based several times, are skewed towards </a:t>
            </a:r>
            <a:endParaRPr lang="en-US" dirty="0" smtClean="0"/>
          </a:p>
          <a:p>
            <a:pPr algn="just"/>
            <a:r>
              <a:rPr lang="en-US" dirty="0"/>
              <a:t> </a:t>
            </a:r>
            <a:r>
              <a:rPr lang="en-US" dirty="0" smtClean="0"/>
              <a:t>     the </a:t>
            </a:r>
            <a:r>
              <a:rPr lang="en-US" dirty="0"/>
              <a:t>end of the contract </a:t>
            </a:r>
            <a:endParaRPr lang="en-US" dirty="0" smtClean="0"/>
          </a:p>
          <a:p>
            <a:pPr algn="just"/>
            <a:endParaRPr lang="en-US" dirty="0"/>
          </a:p>
          <a:p>
            <a:pPr marL="342900" indent="-342900" algn="just">
              <a:buAutoNum type="alphaLcParenR" startAt="8"/>
            </a:pPr>
            <a:r>
              <a:rPr lang="en-US" dirty="0" smtClean="0"/>
              <a:t>Clearly </a:t>
            </a:r>
            <a:r>
              <a:rPr lang="en-US" dirty="0"/>
              <a:t>defining </a:t>
            </a:r>
            <a:r>
              <a:rPr lang="en-US" b="1" dirty="0"/>
              <a:t>the roles and responsibilities for each of the </a:t>
            </a:r>
            <a:r>
              <a:rPr lang="en-US" b="1" dirty="0" smtClean="0"/>
              <a:t>Government </a:t>
            </a:r>
            <a:r>
              <a:rPr lang="en-US" b="1" dirty="0"/>
              <a:t>agencies </a:t>
            </a:r>
            <a:r>
              <a:rPr lang="en-US" dirty="0"/>
              <a:t>involved in </a:t>
            </a:r>
            <a:endParaRPr lang="en-US" dirty="0" smtClean="0"/>
          </a:p>
          <a:p>
            <a:pPr algn="just"/>
            <a:r>
              <a:rPr lang="en-US" dirty="0"/>
              <a:t> </a:t>
            </a:r>
            <a:r>
              <a:rPr lang="en-US" dirty="0" smtClean="0"/>
              <a:t>     an </a:t>
            </a:r>
            <a:r>
              <a:rPr lang="en-US" dirty="0"/>
              <a:t>eGovernance project, right at the time of project conceptualization </a:t>
            </a:r>
            <a:r>
              <a:rPr lang="en-US" dirty="0" smtClean="0"/>
              <a:t>is essential</a:t>
            </a:r>
          </a:p>
          <a:p>
            <a:pPr algn="just"/>
            <a:endParaRPr lang="en-US" dirty="0"/>
          </a:p>
          <a:p>
            <a:pPr marL="400050" indent="-400050" algn="just">
              <a:buAutoNum type="romanUcParenR"/>
            </a:pPr>
            <a:r>
              <a:rPr lang="en-US" b="1" dirty="0" smtClean="0"/>
              <a:t>Streamlining </a:t>
            </a:r>
            <a:r>
              <a:rPr lang="en-US" b="1" dirty="0"/>
              <a:t>of payment process in </a:t>
            </a:r>
            <a:r>
              <a:rPr lang="en-US" b="1" dirty="0" smtClean="0"/>
              <a:t>State </a:t>
            </a:r>
            <a:r>
              <a:rPr lang="en-US" b="1" dirty="0"/>
              <a:t>G</a:t>
            </a:r>
            <a:r>
              <a:rPr lang="en-US" b="1" dirty="0" smtClean="0"/>
              <a:t>overnments </a:t>
            </a:r>
            <a:r>
              <a:rPr lang="en-US" b="1" dirty="0"/>
              <a:t>and line departments at the C</a:t>
            </a:r>
            <a:r>
              <a:rPr lang="en-US" b="1" dirty="0" smtClean="0"/>
              <a:t>entre Govt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marL="342900" indent="-342900" algn="just">
              <a:buAutoNum type="alphaUcParenR" startAt="10"/>
            </a:pPr>
            <a:r>
              <a:rPr lang="en-US" dirty="0" smtClean="0"/>
              <a:t>Improvement </a:t>
            </a:r>
            <a:r>
              <a:rPr lang="en-US" dirty="0"/>
              <a:t>in quality of resources and </a:t>
            </a:r>
            <a:r>
              <a:rPr lang="en-US" b="1" dirty="0"/>
              <a:t>continuity of key personnel being deployed </a:t>
            </a:r>
            <a:r>
              <a:rPr lang="en-US" dirty="0"/>
              <a:t>by Industry </a:t>
            </a:r>
            <a:endParaRPr lang="en-US" dirty="0" smtClean="0"/>
          </a:p>
          <a:p>
            <a:pPr algn="just"/>
            <a:r>
              <a:rPr lang="en-US" dirty="0"/>
              <a:t> </a:t>
            </a:r>
            <a:r>
              <a:rPr lang="en-US" dirty="0" smtClean="0"/>
              <a:t>     participants </a:t>
            </a:r>
            <a:r>
              <a:rPr lang="en-US" dirty="0"/>
              <a:t>and Consulting partners for eGovernance projects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3225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3" y="527648"/>
            <a:ext cx="8119769" cy="685801"/>
          </a:xfrm>
        </p:spPr>
        <p:txBody>
          <a:bodyPr/>
          <a:lstStyle/>
          <a:p>
            <a:r>
              <a:rPr lang="en-US" b="0" dirty="0"/>
              <a:t> </a:t>
            </a:r>
            <a:r>
              <a:rPr lang="en-US" sz="1600" kern="1200" dirty="0">
                <a:solidFill>
                  <a:schemeClr val="tx1"/>
                </a:solidFill>
              </a:rPr>
              <a:t>Enablers for a Win-Win partnership in eGovernance </a:t>
            </a:r>
            <a:r>
              <a:rPr lang="en-US" sz="1600" kern="1200" dirty="0" smtClean="0">
                <a:solidFill>
                  <a:schemeClr val="tx1"/>
                </a:solidFill>
              </a:rPr>
              <a:t>  		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1803" y="1465028"/>
            <a:ext cx="1050579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edium term </a:t>
            </a:r>
            <a:r>
              <a:rPr lang="en-US" b="1" dirty="0" smtClean="0"/>
              <a:t>Enablers</a:t>
            </a:r>
            <a:endParaRPr lang="en-US" b="1" dirty="0"/>
          </a:p>
          <a:p>
            <a:endParaRPr lang="en-US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US" dirty="0"/>
          </a:p>
          <a:p>
            <a:pPr marL="282575" indent="-282575"/>
            <a:r>
              <a:rPr lang="en-US" dirty="0" smtClean="0"/>
              <a:t>a) </a:t>
            </a:r>
            <a:r>
              <a:rPr lang="en-US" b="1" dirty="0" smtClean="0"/>
              <a:t>Revamp </a:t>
            </a:r>
            <a:r>
              <a:rPr lang="en-US" b="1" dirty="0"/>
              <a:t>of </a:t>
            </a:r>
            <a:r>
              <a:rPr lang="en-US" b="1" dirty="0" smtClean="0"/>
              <a:t>nodal agencies/government </a:t>
            </a:r>
            <a:r>
              <a:rPr lang="en-US" b="1" dirty="0"/>
              <a:t>societies/bodies </a:t>
            </a:r>
            <a:r>
              <a:rPr lang="en-US" dirty="0"/>
              <a:t>mandated to drive eGovernance initiatives </a:t>
            </a:r>
            <a:r>
              <a:rPr lang="en-US" dirty="0" smtClean="0"/>
              <a:t>  in </a:t>
            </a:r>
            <a:r>
              <a:rPr lang="en-US" dirty="0"/>
              <a:t>the state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2575" indent="-282575"/>
            <a:r>
              <a:rPr lang="en-US" dirty="0" smtClean="0"/>
              <a:t>b) </a:t>
            </a:r>
            <a:r>
              <a:rPr lang="en-US" b="1" dirty="0" smtClean="0"/>
              <a:t>Empowerment </a:t>
            </a:r>
            <a:r>
              <a:rPr lang="en-US" b="1" dirty="0"/>
              <a:t>of government officials </a:t>
            </a:r>
            <a:r>
              <a:rPr lang="en-US" dirty="0"/>
              <a:t>directly involved in IT projects, enabling, quicker decision making </a:t>
            </a:r>
          </a:p>
          <a:p>
            <a:endParaRPr lang="en-US" dirty="0"/>
          </a:p>
          <a:p>
            <a:pPr marL="282575" indent="-282575"/>
            <a:r>
              <a:rPr lang="en-US" dirty="0" smtClean="0"/>
              <a:t>c</a:t>
            </a:r>
            <a:r>
              <a:rPr lang="en-US" b="1" dirty="0" smtClean="0"/>
              <a:t>) Build/Acquire </a:t>
            </a:r>
            <a:r>
              <a:rPr lang="en-US" b="1" dirty="0"/>
              <a:t>suitable technical capabilities </a:t>
            </a:r>
            <a:r>
              <a:rPr lang="en-US" dirty="0"/>
              <a:t>and skills in vendor management, outsourced/remote sourced engagements, supported with the right level of authority and institutional structures </a:t>
            </a:r>
          </a:p>
          <a:p>
            <a:endParaRPr lang="en-US" dirty="0"/>
          </a:p>
          <a:p>
            <a:pPr marL="282575" indent="-282575"/>
            <a:r>
              <a:rPr lang="en-US" dirty="0" smtClean="0"/>
              <a:t>d) Need </a:t>
            </a:r>
            <a:r>
              <a:rPr lang="en-US" dirty="0"/>
              <a:t>to evolve a mechanism to </a:t>
            </a:r>
            <a:r>
              <a:rPr lang="en-US" b="1" dirty="0"/>
              <a:t>synergize technology investments </a:t>
            </a:r>
            <a:r>
              <a:rPr lang="en-US" dirty="0"/>
              <a:t>being made by different states and also by various departments within the same state to avoid duplication of effor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3217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y 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</a:t>
            </a:r>
            <a:r>
              <a: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ward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1803" y="1383323"/>
            <a:ext cx="1110370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NASSCOM and its Members believe,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ddressing the short/immediate term challenges based on the suggested recommendations and consultations would provide a much needed fillip to the Government – IT Industry partnership in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eGovern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H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owever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, for it to be sustainable, it is imperative that necessary time bound steps are taken to address the medium term challenges on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iority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Towards </a:t>
            </a:r>
            <a:r>
              <a:rPr lang="en-US" b="1" dirty="0">
                <a:solidFill>
                  <a:srgbClr val="000000"/>
                </a:solidFill>
                <a:latin typeface="Calibri" panose="020F0502020204030204" pitchFamily="34" charset="0"/>
              </a:rPr>
              <a:t>the above, it is recommended to constitute a high level task force, comprising of senior government officials and members of the industry, with clearly defined Terms of Reference and </a:t>
            </a:r>
            <a:r>
              <a:rPr lang="en-US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timeline</a:t>
            </a:r>
            <a:endParaRPr lang="en-US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7040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87688" y="3068961"/>
            <a:ext cx="388843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500" b="1" i="1" dirty="0"/>
              <a:t>Thank You !</a:t>
            </a:r>
          </a:p>
          <a:p>
            <a:pPr algn="ctr"/>
            <a:endParaRPr lang="en-US" sz="2400" b="1" i="1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648396" y="6642917"/>
            <a:ext cx="2543605" cy="2286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C4C4C"/>
                </a:solidFill>
              </a:rPr>
              <a:t>18</a:t>
            </a:r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43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ief on eGovernan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1804" y="1037602"/>
            <a:ext cx="11514012" cy="5047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eGovernance, simply defined, is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leveraging ICT solutions for transforming the reach and quality of the Government’s service delivery to Citize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It is being increasingly viewed as an enabler and facilitator of ‘Good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Governance’</a:t>
            </a:r>
          </a:p>
          <a:p>
            <a:pPr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  Aim of eGovernance is to:</a:t>
            </a:r>
          </a:p>
          <a:p>
            <a:pPr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Improve the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quality, cost, accessibility, and speed of delivering Government Information and Services</a:t>
            </a:r>
          </a:p>
          <a:p>
            <a:pPr lvl="1"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Make Government more accountable by increasing the opportunity for citizen participation in the governance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process</a:t>
            </a:r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lvl="1"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398463" lvl="1" indent="-398463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eGovernance is gaining considerable momentum in India, with several high impact projects being implemented in both Government-to-Citizen (G2C) and Government-to-Business (G2B) domains, across Central Ministries and State Departments</a:t>
            </a:r>
          </a:p>
          <a:p>
            <a:pPr marL="0" lvl="1"/>
            <a:endParaRPr lang="en-US" sz="1600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5179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le of IT –BPM Industr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1803" y="1430215"/>
            <a:ext cx="11045089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The Indian Government has been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leveraging solutions and services from the </a:t>
            </a:r>
            <a:r>
              <a:rPr lang="en-US" b="1" dirty="0" smtClean="0">
                <a:solidFill>
                  <a:srgbClr val="5D5D5D"/>
                </a:solidFill>
                <a:latin typeface="Arial" panose="020B0604020202020204" pitchFamily="34" charset="0"/>
              </a:rPr>
              <a:t>IT-BPM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industry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to transform the manner in which it renders services</a:t>
            </a:r>
          </a:p>
          <a:p>
            <a:pPr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Deep focus on the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eGovernance domain and a partnership approach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, have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enabled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NASSCOM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membership to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contribute significantly to the success stories in eGovernance</a:t>
            </a:r>
          </a:p>
          <a:p>
            <a:pPr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The Department of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Electronics and Information Technology (DeitY),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Government of India has helped in giving a fillip to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eGovernance </a:t>
            </a:r>
            <a:r>
              <a:rPr lang="en-US" b="1" dirty="0" smtClean="0">
                <a:solidFill>
                  <a:srgbClr val="5D5D5D"/>
                </a:solidFill>
                <a:latin typeface="Arial" panose="020B0604020202020204" pitchFamily="34" charset="0"/>
              </a:rPr>
              <a:t>initiatives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through its </a:t>
            </a:r>
            <a:r>
              <a:rPr lang="en-US" b="1" dirty="0" smtClean="0">
                <a:solidFill>
                  <a:srgbClr val="5D5D5D"/>
                </a:solidFill>
                <a:latin typeface="Arial" panose="020B0604020202020204" pitchFamily="34" charset="0"/>
              </a:rPr>
              <a:t>e-Kranti programme and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</a:rPr>
              <a:t>several Mission Mode Projects,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 both at the Centre and the States leve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339725" lvl="1" indent="-339725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Some examples of eGovernance initiatives in India that have been launched with complete support of the Indian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IT-BPM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sector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: Passport, MCA21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, the Aadhaar Project (UIDAI), Customs and Central Excise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, UPOR, 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Integrated Citizen Services like MP Online, Karnataka One,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eProcurement</a:t>
            </a:r>
            <a:r>
              <a:rPr lang="en-US" dirty="0">
                <a:solidFill>
                  <a:srgbClr val="5D5D5D"/>
                </a:solidFill>
                <a:latin typeface="Arial" panose="020B0604020202020204" pitchFamily="34" charset="0"/>
              </a:rPr>
              <a:t>, HRMS, SWANs and </a:t>
            </a:r>
            <a:r>
              <a:rPr lang="en-US" dirty="0" smtClean="0">
                <a:solidFill>
                  <a:srgbClr val="5D5D5D"/>
                </a:solidFill>
                <a:latin typeface="Arial" panose="020B0604020202020204" pitchFamily="34" charset="0"/>
              </a:rPr>
              <a:t>SDCs and more</a:t>
            </a:r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lvl="1" algn="just"/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rgbClr val="5D5D5D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509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kern="1200" dirty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Technology will play a critical role to create the India of </a:t>
            </a: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Tomorrow</a:t>
            </a:r>
            <a:b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</a:b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/>
            </a:r>
            <a:b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</a:b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Technology is changing at rapid pace</a:t>
            </a:r>
            <a:b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</a:b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Velocity of change has increased</a:t>
            </a:r>
            <a:b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</a:b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Predictability of change has decreased</a:t>
            </a:r>
            <a:endParaRPr lang="en-US" sz="1800" kern="1200" dirty="0">
              <a:solidFill>
                <a:schemeClr val="tx1"/>
              </a:solidFill>
              <a:latin typeface="EurostileL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7215" y="1945568"/>
            <a:ext cx="10669951" cy="4801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latin typeface="EurostileLT"/>
            </a:endParaRPr>
          </a:p>
          <a:p>
            <a:r>
              <a:rPr lang="en-US" b="1" dirty="0" smtClean="0">
                <a:latin typeface="EurostileLT"/>
              </a:rPr>
              <a:t>Technology </a:t>
            </a:r>
            <a:r>
              <a:rPr lang="en-US" b="1" dirty="0" smtClean="0">
                <a:latin typeface="EurostileLT"/>
              </a:rPr>
              <a:t>for Growth</a:t>
            </a:r>
            <a:r>
              <a:rPr lang="en-US" dirty="0" smtClean="0">
                <a:latin typeface="EurostileLT"/>
              </a:rPr>
              <a:t>:</a:t>
            </a:r>
            <a:endParaRPr lang="en-US" dirty="0" smtClean="0">
              <a:latin typeface="EurostileLT"/>
            </a:endParaRPr>
          </a:p>
          <a:p>
            <a:r>
              <a:rPr lang="en-US" dirty="0" smtClean="0">
                <a:latin typeface="EurostileLT"/>
              </a:rPr>
              <a:t>•   Enabling </a:t>
            </a:r>
            <a:r>
              <a:rPr lang="en-US" dirty="0">
                <a:latin typeface="EurostileLT"/>
              </a:rPr>
              <a:t>India Inc. as they become global enterprises</a:t>
            </a:r>
          </a:p>
          <a:p>
            <a:r>
              <a:rPr lang="en-US" dirty="0">
                <a:latin typeface="EurostileLT"/>
              </a:rPr>
              <a:t>• </a:t>
            </a:r>
            <a:r>
              <a:rPr lang="en-US" dirty="0" smtClean="0">
                <a:latin typeface="EurostileLT"/>
              </a:rPr>
              <a:t>  Creating </a:t>
            </a:r>
            <a:r>
              <a:rPr lang="en-US" dirty="0">
                <a:latin typeface="EurostileLT"/>
              </a:rPr>
              <a:t>jobs, helping SMEs grow and stay competitive</a:t>
            </a:r>
          </a:p>
          <a:p>
            <a:r>
              <a:rPr lang="en-US" dirty="0">
                <a:latin typeface="EurostileLT"/>
              </a:rPr>
              <a:t>• </a:t>
            </a:r>
            <a:r>
              <a:rPr lang="en-US" dirty="0" smtClean="0">
                <a:latin typeface="EurostileLT"/>
              </a:rPr>
              <a:t>  Technology </a:t>
            </a:r>
            <a:r>
              <a:rPr lang="en-US" dirty="0">
                <a:latin typeface="EurostileLT"/>
              </a:rPr>
              <a:t>powering expansion of banking footprint and financial </a:t>
            </a:r>
            <a:r>
              <a:rPr lang="en-US" dirty="0" smtClean="0">
                <a:latin typeface="EurostileLT"/>
              </a:rPr>
              <a:t>inclusion</a:t>
            </a:r>
          </a:p>
          <a:p>
            <a:endParaRPr lang="en-US" dirty="0">
              <a:latin typeface="EurostileLT"/>
            </a:endParaRPr>
          </a:p>
          <a:p>
            <a:r>
              <a:rPr lang="en-US" b="1" dirty="0" smtClean="0"/>
              <a:t>Technology for Government</a:t>
            </a:r>
            <a:r>
              <a:rPr lang="en-US" dirty="0" smtClean="0"/>
              <a:t>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-Enabling Citizen Services – online by default</a:t>
            </a:r>
          </a:p>
          <a:p>
            <a:r>
              <a:rPr lang="en-US" dirty="0"/>
              <a:t>• </a:t>
            </a:r>
            <a:r>
              <a:rPr lang="en-US" dirty="0" smtClean="0"/>
              <a:t>  Government e-Transactions </a:t>
            </a:r>
            <a:r>
              <a:rPr lang="en-US" dirty="0"/>
              <a:t>grew from 2.41 billion in CY 2013 to 3.53 billion in CY</a:t>
            </a:r>
          </a:p>
          <a:p>
            <a:r>
              <a:rPr lang="en-US" dirty="0"/>
              <a:t>• </a:t>
            </a:r>
            <a:r>
              <a:rPr lang="en-US" dirty="0" smtClean="0"/>
              <a:t>  Aadhaar</a:t>
            </a:r>
            <a:r>
              <a:rPr lang="en-US" dirty="0"/>
              <a:t>, India’s unique ID biometric platform scaled to </a:t>
            </a:r>
            <a:r>
              <a:rPr lang="en-US" dirty="0" smtClean="0"/>
              <a:t>more than </a:t>
            </a:r>
            <a:r>
              <a:rPr lang="en-US" dirty="0" smtClean="0"/>
              <a:t>900 </a:t>
            </a:r>
            <a:r>
              <a:rPr lang="en-US" dirty="0"/>
              <a:t>million</a:t>
            </a:r>
          </a:p>
          <a:p>
            <a:r>
              <a:rPr lang="en-US" dirty="0"/>
              <a:t>• </a:t>
            </a:r>
            <a:r>
              <a:rPr lang="en-US" dirty="0" smtClean="0"/>
              <a:t>  Technology </a:t>
            </a:r>
            <a:r>
              <a:rPr lang="en-US" dirty="0"/>
              <a:t>enabling disintermediation for both citizens and </a:t>
            </a:r>
            <a:r>
              <a:rPr lang="en-US" dirty="0" smtClean="0"/>
              <a:t>businesses</a:t>
            </a:r>
          </a:p>
          <a:p>
            <a:endParaRPr lang="en-US" b="1" dirty="0" smtClean="0">
              <a:latin typeface="EurostileLT"/>
            </a:endParaRPr>
          </a:p>
          <a:p>
            <a:r>
              <a:rPr lang="en-US" b="1" dirty="0" smtClean="0">
                <a:latin typeface="EurostileLT"/>
              </a:rPr>
              <a:t>Technology for Good</a:t>
            </a:r>
            <a:r>
              <a:rPr lang="en-US" dirty="0" smtClean="0">
                <a:latin typeface="EurostileLT"/>
              </a:rPr>
              <a:t>:</a:t>
            </a:r>
            <a:endParaRPr lang="en-US" dirty="0">
              <a:latin typeface="Eurostile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chnology driving social impact and inclusion</a:t>
            </a:r>
          </a:p>
          <a:p>
            <a:r>
              <a:rPr lang="en-US" dirty="0"/>
              <a:t>• </a:t>
            </a:r>
            <a:r>
              <a:rPr lang="en-US" dirty="0" smtClean="0"/>
              <a:t>  Enabling </a:t>
            </a:r>
            <a:r>
              <a:rPr lang="en-US" dirty="0"/>
              <a:t>remote healthcare</a:t>
            </a:r>
          </a:p>
          <a:p>
            <a:r>
              <a:rPr lang="en-US" dirty="0"/>
              <a:t>• </a:t>
            </a:r>
            <a:r>
              <a:rPr lang="en-US" dirty="0" smtClean="0"/>
              <a:t>  Empowering </a:t>
            </a:r>
            <a:r>
              <a:rPr lang="en-US" dirty="0"/>
              <a:t>farmers</a:t>
            </a:r>
          </a:p>
          <a:p>
            <a:r>
              <a:rPr lang="en-US" dirty="0"/>
              <a:t>• </a:t>
            </a:r>
            <a:r>
              <a:rPr lang="en-US" dirty="0" smtClean="0"/>
              <a:t>  Digital </a:t>
            </a:r>
            <a:r>
              <a:rPr lang="en-US" dirty="0"/>
              <a:t>literacy and skills development</a:t>
            </a:r>
            <a:endParaRPr lang="en-US" dirty="0">
              <a:latin typeface="EurostileLT"/>
            </a:endParaRPr>
          </a:p>
        </p:txBody>
      </p:sp>
    </p:spTree>
    <p:extLst>
      <p:ext uri="{BB962C8B-B14F-4D97-AF65-F5344CB8AC3E}">
        <p14:creationId xmlns:p14="http://schemas.microsoft.com/office/powerpoint/2010/main" val="20074811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kern="1200" dirty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Technology is also transforming the </a:t>
            </a:r>
            <a:r>
              <a:rPr lang="en-US" sz="1800" kern="1200" dirty="0" smtClean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Socioeconomic Landscape </a:t>
            </a:r>
            <a:r>
              <a:rPr lang="en-US" sz="1800" kern="1200" dirty="0">
                <a:solidFill>
                  <a:schemeClr val="tx1"/>
                </a:solidFill>
                <a:latin typeface="EurostileLT"/>
                <a:ea typeface="+mn-ea"/>
                <a:cs typeface="+mn-cs"/>
              </a:rPr>
              <a:t>in Indi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1803" y="1301262"/>
            <a:ext cx="1052927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EurostileLT"/>
              </a:rPr>
              <a:t>Sizeable domestic market USD 48 billion with massive growth </a:t>
            </a:r>
            <a:r>
              <a:rPr lang="en-US" dirty="0" smtClean="0">
                <a:latin typeface="EurostileLT"/>
              </a:rPr>
              <a:t>potential</a:t>
            </a:r>
          </a:p>
          <a:p>
            <a:endParaRPr lang="en-US" dirty="0" smtClean="0">
              <a:latin typeface="Eurostile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EurostileLT"/>
              </a:rPr>
              <a:t> </a:t>
            </a:r>
            <a:r>
              <a:rPr lang="en-US" dirty="0"/>
              <a:t>Largest private sector </a:t>
            </a:r>
            <a:r>
              <a:rPr lang="en-US" dirty="0" smtClean="0"/>
              <a:t>employer over </a:t>
            </a:r>
            <a:r>
              <a:rPr lang="en-US" dirty="0"/>
              <a:t>3.5 million direct </a:t>
            </a:r>
            <a:r>
              <a:rPr lang="en-US" dirty="0" smtClean="0"/>
              <a:t>and &gt;</a:t>
            </a:r>
            <a:r>
              <a:rPr lang="en-US" dirty="0"/>
              <a:t>10 million indirect </a:t>
            </a:r>
            <a:r>
              <a:rPr lang="en-US" dirty="0" smtClean="0"/>
              <a:t>employees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EurostileLT"/>
              </a:rPr>
              <a:t> </a:t>
            </a:r>
            <a:r>
              <a:rPr lang="en-US" dirty="0" smtClean="0"/>
              <a:t>Significant economic impact ~</a:t>
            </a:r>
            <a:r>
              <a:rPr lang="en-US" dirty="0"/>
              <a:t>9.5</a:t>
            </a:r>
            <a:r>
              <a:rPr lang="en-US" dirty="0" smtClean="0"/>
              <a:t>% GDP contribution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EurostileLT"/>
              </a:rPr>
              <a:t> </a:t>
            </a:r>
            <a:r>
              <a:rPr lang="en-US" dirty="0"/>
              <a:t>Inclusive </a:t>
            </a:r>
            <a:r>
              <a:rPr lang="en-US" dirty="0" smtClean="0"/>
              <a:t>growth ~</a:t>
            </a:r>
            <a:r>
              <a:rPr lang="en-US" dirty="0"/>
              <a:t>60% </a:t>
            </a:r>
            <a:r>
              <a:rPr lang="en-US" dirty="0" smtClean="0"/>
              <a:t>revenues from </a:t>
            </a:r>
            <a:r>
              <a:rPr lang="en-US" dirty="0"/>
              <a:t>small, </a:t>
            </a:r>
            <a:r>
              <a:rPr lang="en-US" dirty="0" smtClean="0"/>
              <a:t>emerging and </a:t>
            </a:r>
            <a:r>
              <a:rPr lang="en-US" dirty="0"/>
              <a:t>mid-size </a:t>
            </a:r>
            <a:r>
              <a:rPr lang="en-US" dirty="0" smtClean="0"/>
              <a:t>firms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EurostileLT"/>
              </a:rPr>
              <a:t> </a:t>
            </a:r>
            <a:r>
              <a:rPr lang="en-US" dirty="0"/>
              <a:t>Developing people </a:t>
            </a:r>
            <a:r>
              <a:rPr lang="en-US" dirty="0" smtClean="0"/>
              <a:t>capital &gt;</a:t>
            </a:r>
            <a:r>
              <a:rPr lang="en-US" dirty="0"/>
              <a:t>150,000 digitally skilled employees</a:t>
            </a:r>
            <a:r>
              <a:rPr lang="en-US" dirty="0" smtClean="0"/>
              <a:t>; ~</a:t>
            </a:r>
            <a:r>
              <a:rPr lang="en-US" dirty="0"/>
              <a:t>USD 2.2 billion spent annually</a:t>
            </a:r>
          </a:p>
          <a:p>
            <a:r>
              <a:rPr lang="en-US" dirty="0" smtClean="0"/>
              <a:t>      on training</a:t>
            </a:r>
          </a:p>
          <a:p>
            <a:endParaRPr lang="en-US" dirty="0">
              <a:latin typeface="Eurostile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EurostileLT"/>
              </a:rPr>
              <a:t> </a:t>
            </a:r>
            <a:r>
              <a:rPr lang="en-US" dirty="0"/>
              <a:t>Most diverse </a:t>
            </a:r>
            <a:r>
              <a:rPr lang="en-US" dirty="0" smtClean="0"/>
              <a:t>employer with &gt;</a:t>
            </a:r>
            <a:r>
              <a:rPr lang="en-US" dirty="0"/>
              <a:t>50% from </a:t>
            </a:r>
            <a:r>
              <a:rPr lang="en-US" dirty="0" smtClean="0"/>
              <a:t>non-metros</a:t>
            </a:r>
            <a:r>
              <a:rPr lang="en-US" dirty="0"/>
              <a:t> </a:t>
            </a:r>
            <a:r>
              <a:rPr lang="en-US" dirty="0" smtClean="0"/>
              <a:t>and &gt;34</a:t>
            </a:r>
            <a:r>
              <a:rPr lang="en-US" dirty="0"/>
              <a:t>% </a:t>
            </a:r>
            <a:r>
              <a:rPr lang="en-US" dirty="0" smtClean="0"/>
              <a:t>women are </a:t>
            </a:r>
            <a:r>
              <a:rPr lang="en-US" dirty="0" smtClean="0"/>
              <a:t>working in the industry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Eurostile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EurostileLT"/>
              </a:rPr>
              <a:t> Global footprint- but challenges in partnering with Government in </a:t>
            </a:r>
            <a:r>
              <a:rPr lang="en-US" dirty="0" err="1" smtClean="0">
                <a:latin typeface="EurostileLT"/>
              </a:rPr>
              <a:t>eGovernance</a:t>
            </a:r>
            <a:r>
              <a:rPr lang="en-US" dirty="0" smtClean="0">
                <a:latin typeface="EurostileLT"/>
              </a:rPr>
              <a:t> initiative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73871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0700" y="2798478"/>
            <a:ext cx="9456267" cy="966697"/>
          </a:xfrm>
        </p:spPr>
        <p:txBody>
          <a:bodyPr/>
          <a:lstStyle/>
          <a:p>
            <a:pPr algn="ctr"/>
            <a:r>
              <a:rPr lang="en-US" sz="2500" b="0" dirty="0" smtClean="0"/>
              <a:t>Examples of Innovation </a:t>
            </a:r>
            <a:r>
              <a:rPr lang="en-US" sz="2500" b="0" dirty="0"/>
              <a:t>and </a:t>
            </a:r>
            <a:r>
              <a:rPr lang="en-US" sz="2500" b="0" dirty="0" smtClean="0"/>
              <a:t>Technology-led transformational Government Stories in India</a:t>
            </a:r>
            <a:endParaRPr lang="en-US" sz="2500" kern="1200" dirty="0">
              <a:solidFill>
                <a:schemeClr val="tx1"/>
              </a:solidFill>
              <a:latin typeface="EurostileL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3F579-844F-4549-AAE2-12B17D9634FB}" type="slidenum">
              <a:rPr lang="en-US" smtClean="0">
                <a:solidFill>
                  <a:srgbClr val="4C4C4C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4C4C4C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64BB13-5A89-4BAC-BF97-69CB0E7636A5}" type="datetime5">
              <a:rPr lang="en-US" smtClean="0">
                <a:solidFill>
                  <a:srgbClr val="4C4C4C"/>
                </a:solidFill>
              </a:rPr>
              <a:pPr>
                <a:defRPr/>
              </a:pPr>
              <a:t>22-Dec-15</a:t>
            </a:fld>
            <a:endParaRPr lang="en-US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3576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4" name="Group 423"/>
          <p:cNvGrpSpPr/>
          <p:nvPr/>
        </p:nvGrpSpPr>
        <p:grpSpPr>
          <a:xfrm>
            <a:off x="9290400" y="1204660"/>
            <a:ext cx="553427" cy="635449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61898" y="393210"/>
            <a:ext cx="8484682" cy="670766"/>
          </a:xfrm>
        </p:spPr>
        <p:txBody>
          <a:bodyPr/>
          <a:lstStyle/>
          <a:p>
            <a:r>
              <a:rPr lang="en-GB" dirty="0" smtClean="0"/>
              <a:t>Passport </a:t>
            </a:r>
            <a:r>
              <a:rPr lang="en-GB" dirty="0" err="1" smtClean="0"/>
              <a:t>Seva</a:t>
            </a:r>
            <a:r>
              <a:rPr lang="en-GB" dirty="0" smtClean="0"/>
              <a:t>: Transforming public sector services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1592861" y="2001054"/>
            <a:ext cx="2774931" cy="4380274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54761" y="2107387"/>
            <a:ext cx="2500590" cy="4343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1557205" y="2530227"/>
            <a:ext cx="2733312" cy="3254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Growing demand of passports and related services, including tier 2 and 3 cities</a:t>
            </a:r>
          </a:p>
          <a:p>
            <a:pPr marL="263525" indent="-1809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Need for robust governance processes</a:t>
            </a:r>
          </a:p>
          <a:p>
            <a:pPr marL="263525" indent="-1809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Large regional spread with involvement of local authorities</a:t>
            </a:r>
          </a:p>
          <a:p>
            <a:pPr marL="263525" lvl="1" indent="-1809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Goal to eliminate large number of middlemen involved in this process</a:t>
            </a:r>
          </a:p>
          <a:p>
            <a:pPr marL="263525" lvl="1" indent="-1809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Large process re-engineering required without disrupting the routine process flow</a:t>
            </a:r>
          </a:p>
          <a:p>
            <a:pPr marL="263525" lvl="1" indent="-1809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642281" y="2001054"/>
            <a:ext cx="2806364" cy="4380274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83411" y="2094508"/>
            <a:ext cx="2500590" cy="4343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90000" rIns="108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642499" y="2001055"/>
            <a:ext cx="3185414" cy="4380275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599181" y="2094508"/>
            <a:ext cx="2500590" cy="434375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Impact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603377" y="1184890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722179" y="1184890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840981" y="1184890"/>
            <a:ext cx="2873176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722177" y="1184890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840979" y="1184890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345794" y="1184890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033718" y="1328077"/>
            <a:ext cx="1003310" cy="3333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351672" y="1190515"/>
            <a:ext cx="3173671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10800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cs typeface="Arial" pitchFamily="34" charset="0"/>
              </a:rPr>
              <a:t>Ministry of External </a:t>
            </a:r>
          </a:p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cs typeface="Arial" pitchFamily="34" charset="0"/>
              </a:rPr>
              <a:t>Affairs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722179" y="1177636"/>
            <a:ext cx="2878881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GB" sz="1400" b="1" dirty="0">
                <a:cs typeface="Arial" pitchFamily="34" charset="0"/>
              </a:rPr>
              <a:t>Government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840980" y="1177636"/>
            <a:ext cx="2867930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648366" y="2523841"/>
            <a:ext cx="2813158" cy="35028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en-GB" sz="1400" b="1" dirty="0">
                <a:solidFill>
                  <a:schemeClr val="tx1"/>
                </a:solidFill>
                <a:cs typeface="Arial" pitchFamily="34" charset="0"/>
              </a:rPr>
              <a:t>Public-Private Partnership (PPP) on Indian e-governance Passport </a:t>
            </a:r>
            <a:r>
              <a:rPr lang="en-GB" sz="1400" b="1" dirty="0" err="1">
                <a:solidFill>
                  <a:schemeClr val="tx1"/>
                </a:solidFill>
                <a:cs typeface="Arial" pitchFamily="34" charset="0"/>
              </a:rPr>
              <a:t>SEVA</a:t>
            </a:r>
            <a:r>
              <a:rPr lang="en-GB" sz="1400" b="1" dirty="0">
                <a:solidFill>
                  <a:schemeClr val="tx1"/>
                </a:solidFill>
                <a:cs typeface="Arial" pitchFamily="34" charset="0"/>
              </a:rPr>
              <a:t> project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GB" sz="1400" dirty="0">
                <a:solidFill>
                  <a:schemeClr val="tx1"/>
                </a:solidFill>
                <a:cs typeface="Arial" pitchFamily="34" charset="0"/>
              </a:rPr>
              <a:t>Key services include migration of legacy records, redesign of passport centres and implementation of straight-through processing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GB" sz="1400" dirty="0">
                <a:solidFill>
                  <a:schemeClr val="tx1"/>
                </a:solidFill>
                <a:cs typeface="Arial" pitchFamily="34" charset="0"/>
              </a:rPr>
              <a:t>Mobile application launched with an online payment system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Central passport print facility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GB" sz="1400" dirty="0">
                <a:solidFill>
                  <a:schemeClr val="tx1"/>
                </a:solidFill>
                <a:cs typeface="Arial" pitchFamily="34" charset="0"/>
              </a:rPr>
              <a:t>Integration with external </a:t>
            </a:r>
            <a:br>
              <a:rPr lang="en-GB" sz="1400" dirty="0">
                <a:solidFill>
                  <a:schemeClr val="tx1"/>
                </a:solidFill>
                <a:cs typeface="Arial" pitchFamily="34" charset="0"/>
              </a:rPr>
            </a:br>
            <a:r>
              <a:rPr lang="en-GB" sz="1400" dirty="0">
                <a:solidFill>
                  <a:schemeClr val="tx1"/>
                </a:solidFill>
                <a:cs typeface="Arial" pitchFamily="34" charset="0"/>
              </a:rPr>
              <a:t>stakeholders (Police, Indian Post etc.) to reduce cost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endParaRPr lang="en-GB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64" name="Rectangle 463"/>
          <p:cNvSpPr/>
          <p:nvPr/>
        </p:nvSpPr>
        <p:spPr>
          <a:xfrm>
            <a:off x="7916990" y="2510962"/>
            <a:ext cx="2715515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GB" sz="1400" b="1" dirty="0">
                <a:solidFill>
                  <a:schemeClr val="tx1"/>
                </a:solidFill>
                <a:cs typeface="Arial" pitchFamily="34" charset="0"/>
              </a:rPr>
              <a:t>Technology-led transformation of passport service; Innovative risk-shared transaction based pric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cs typeface="Arial" pitchFamily="34" charset="0"/>
              </a:rPr>
              <a:t>77 passport centers rolled out with &gt;13 Mn passports issued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cs typeface="Arial" pitchFamily="34" charset="0"/>
              </a:rPr>
              <a:t>19000+ calls handled daily through contact center supporting 17 languag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cs typeface="Arial" pitchFamily="34" charset="0"/>
              </a:rPr>
              <a:t>Reduction in passport delivery times to 4 days for urgent and 45 days for regula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75" name="Freeform 75"/>
          <p:cNvSpPr>
            <a:spLocks noChangeAspect="1" noEditPoints="1"/>
          </p:cNvSpPr>
          <p:nvPr/>
        </p:nvSpPr>
        <p:spPr bwMode="auto">
          <a:xfrm>
            <a:off x="7689243" y="2681660"/>
            <a:ext cx="220952" cy="298744"/>
          </a:xfrm>
          <a:custGeom>
            <a:avLst/>
            <a:gdLst/>
            <a:ahLst/>
            <a:cxnLst>
              <a:cxn ang="0">
                <a:pos x="49" y="8"/>
              </a:cxn>
              <a:cxn ang="0">
                <a:pos x="37" y="1"/>
              </a:cxn>
              <a:cxn ang="0">
                <a:pos x="29" y="0"/>
              </a:cxn>
              <a:cxn ang="0">
                <a:pos x="8" y="8"/>
              </a:cxn>
              <a:cxn ang="0">
                <a:pos x="0" y="29"/>
              </a:cxn>
              <a:cxn ang="0">
                <a:pos x="0" y="32"/>
              </a:cxn>
              <a:cxn ang="0">
                <a:pos x="3" y="43"/>
              </a:cxn>
              <a:cxn ang="0">
                <a:pos x="14" y="75"/>
              </a:cxn>
              <a:cxn ang="0">
                <a:pos x="15" y="79"/>
              </a:cxn>
              <a:cxn ang="0">
                <a:pos x="18" y="82"/>
              </a:cxn>
              <a:cxn ang="0">
                <a:pos x="39" y="82"/>
              </a:cxn>
              <a:cxn ang="0">
                <a:pos x="43" y="79"/>
              </a:cxn>
              <a:cxn ang="0">
                <a:pos x="43" y="75"/>
              </a:cxn>
              <a:cxn ang="0">
                <a:pos x="54" y="43"/>
              </a:cxn>
              <a:cxn ang="0">
                <a:pos x="58" y="32"/>
              </a:cxn>
              <a:cxn ang="0">
                <a:pos x="58" y="29"/>
              </a:cxn>
              <a:cxn ang="0">
                <a:pos x="49" y="8"/>
              </a:cxn>
              <a:cxn ang="0">
                <a:pos x="17" y="95"/>
              </a:cxn>
              <a:cxn ang="0">
                <a:pos x="41" y="95"/>
              </a:cxn>
              <a:cxn ang="0">
                <a:pos x="41" y="87"/>
              </a:cxn>
              <a:cxn ang="0">
                <a:pos x="17" y="87"/>
              </a:cxn>
              <a:cxn ang="0">
                <a:pos x="17" y="95"/>
              </a:cxn>
              <a:cxn ang="0">
                <a:pos x="22" y="103"/>
              </a:cxn>
              <a:cxn ang="0">
                <a:pos x="35" y="103"/>
              </a:cxn>
              <a:cxn ang="0">
                <a:pos x="35" y="99"/>
              </a:cxn>
              <a:cxn ang="0">
                <a:pos x="22" y="99"/>
              </a:cxn>
              <a:cxn ang="0">
                <a:pos x="22" y="103"/>
              </a:cxn>
            </a:cxnLst>
            <a:rect l="0" t="0" r="r" b="b"/>
            <a:pathLst>
              <a:path w="58" h="103">
                <a:moveTo>
                  <a:pt x="49" y="8"/>
                </a:moveTo>
                <a:cubicBezTo>
                  <a:pt x="46" y="5"/>
                  <a:pt x="42" y="2"/>
                  <a:pt x="37" y="1"/>
                </a:cubicBezTo>
                <a:cubicBezTo>
                  <a:pt x="34" y="0"/>
                  <a:pt x="32" y="0"/>
                  <a:pt x="29" y="0"/>
                </a:cubicBezTo>
                <a:cubicBezTo>
                  <a:pt x="21" y="0"/>
                  <a:pt x="14" y="3"/>
                  <a:pt x="8" y="8"/>
                </a:cubicBezTo>
                <a:cubicBezTo>
                  <a:pt x="3" y="14"/>
                  <a:pt x="0" y="21"/>
                  <a:pt x="0" y="29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6"/>
                  <a:pt x="1" y="40"/>
                  <a:pt x="3" y="43"/>
                </a:cubicBezTo>
                <a:cubicBezTo>
                  <a:pt x="3" y="43"/>
                  <a:pt x="14" y="63"/>
                  <a:pt x="14" y="75"/>
                </a:cubicBezTo>
                <a:cubicBezTo>
                  <a:pt x="15" y="79"/>
                  <a:pt x="15" y="79"/>
                  <a:pt x="15" y="79"/>
                </a:cubicBezTo>
                <a:cubicBezTo>
                  <a:pt x="15" y="81"/>
                  <a:pt x="16" y="82"/>
                  <a:pt x="18" y="82"/>
                </a:cubicBezTo>
                <a:cubicBezTo>
                  <a:pt x="39" y="82"/>
                  <a:pt x="39" y="82"/>
                  <a:pt x="39" y="82"/>
                </a:cubicBezTo>
                <a:cubicBezTo>
                  <a:pt x="41" y="82"/>
                  <a:pt x="42" y="81"/>
                  <a:pt x="43" y="79"/>
                </a:cubicBezTo>
                <a:cubicBezTo>
                  <a:pt x="43" y="75"/>
                  <a:pt x="43" y="75"/>
                  <a:pt x="43" y="75"/>
                </a:cubicBezTo>
                <a:cubicBezTo>
                  <a:pt x="43" y="63"/>
                  <a:pt x="54" y="43"/>
                  <a:pt x="54" y="43"/>
                </a:cubicBezTo>
                <a:cubicBezTo>
                  <a:pt x="56" y="40"/>
                  <a:pt x="57" y="36"/>
                  <a:pt x="58" y="32"/>
                </a:cubicBezTo>
                <a:cubicBezTo>
                  <a:pt x="58" y="29"/>
                  <a:pt x="58" y="29"/>
                  <a:pt x="58" y="29"/>
                </a:cubicBezTo>
                <a:cubicBezTo>
                  <a:pt x="58" y="21"/>
                  <a:pt x="55" y="14"/>
                  <a:pt x="49" y="8"/>
                </a:cubicBezTo>
                <a:close/>
                <a:moveTo>
                  <a:pt x="17" y="95"/>
                </a:moveTo>
                <a:cubicBezTo>
                  <a:pt x="41" y="95"/>
                  <a:pt x="41" y="95"/>
                  <a:pt x="41" y="95"/>
                </a:cubicBezTo>
                <a:cubicBezTo>
                  <a:pt x="41" y="87"/>
                  <a:pt x="41" y="87"/>
                  <a:pt x="41" y="87"/>
                </a:cubicBezTo>
                <a:cubicBezTo>
                  <a:pt x="17" y="87"/>
                  <a:pt x="17" y="87"/>
                  <a:pt x="17" y="87"/>
                </a:cubicBezTo>
                <a:lnTo>
                  <a:pt x="17" y="95"/>
                </a:lnTo>
                <a:close/>
                <a:moveTo>
                  <a:pt x="22" y="103"/>
                </a:moveTo>
                <a:cubicBezTo>
                  <a:pt x="35" y="103"/>
                  <a:pt x="35" y="103"/>
                  <a:pt x="35" y="103"/>
                </a:cubicBezTo>
                <a:cubicBezTo>
                  <a:pt x="35" y="99"/>
                  <a:pt x="35" y="99"/>
                  <a:pt x="35" y="99"/>
                </a:cubicBezTo>
                <a:cubicBezTo>
                  <a:pt x="22" y="99"/>
                  <a:pt x="22" y="99"/>
                  <a:pt x="22" y="99"/>
                </a:cubicBezTo>
                <a:lnTo>
                  <a:pt x="22" y="103"/>
                </a:lnTo>
                <a:close/>
              </a:path>
            </a:pathLst>
          </a:custGeom>
          <a:solidFill>
            <a:srgbClr val="FEEC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90" name="Freeform 45"/>
          <p:cNvSpPr>
            <a:spLocks noEditPoints="1"/>
          </p:cNvSpPr>
          <p:nvPr/>
        </p:nvSpPr>
        <p:spPr bwMode="auto">
          <a:xfrm>
            <a:off x="7698114" y="5179294"/>
            <a:ext cx="219468" cy="219468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Image result for microsoft"/>
          <p:cNvSpPr>
            <a:spLocks noChangeAspect="1" noChangeArrowheads="1"/>
          </p:cNvSpPr>
          <p:nvPr/>
        </p:nvSpPr>
        <p:spPr bwMode="auto">
          <a:xfrm>
            <a:off x="1298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3" name="Picture 554" descr="stock-vector-thumbs-up-thumbs-down-13918513"/>
          <p:cNvPicPr>
            <a:picLocks noChangeAspect="1" noChangeArrowheads="1"/>
          </p:cNvPicPr>
          <p:nvPr/>
        </p:nvPicPr>
        <p:blipFill>
          <a:blip r:embed="rId4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6115" t="4104" r="22951" b="55852"/>
          <a:stretch>
            <a:fillRect/>
          </a:stretch>
        </p:blipFill>
        <p:spPr bwMode="auto">
          <a:xfrm>
            <a:off x="7702938" y="4613497"/>
            <a:ext cx="276087" cy="311364"/>
          </a:xfrm>
          <a:prstGeom prst="rect">
            <a:avLst/>
          </a:prstGeom>
          <a:noFill/>
        </p:spPr>
      </p:pic>
      <p:grpSp>
        <p:nvGrpSpPr>
          <p:cNvPr id="74" name="Group 128"/>
          <p:cNvGrpSpPr/>
          <p:nvPr/>
        </p:nvGrpSpPr>
        <p:grpSpPr>
          <a:xfrm>
            <a:off x="7710619" y="3840397"/>
            <a:ext cx="226840" cy="266433"/>
            <a:chOff x="7022650" y="5904633"/>
            <a:chExt cx="392719" cy="340544"/>
          </a:xfrm>
        </p:grpSpPr>
        <p:sp>
          <p:nvSpPr>
            <p:cNvPr id="75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8" name="Picture 5" descr="File:TCS Logo.svg"/>
          <p:cNvPicPr>
            <a:picLocks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10777950" y="1035276"/>
            <a:ext cx="1260000" cy="65375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756962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4" name="Group 423"/>
          <p:cNvGrpSpPr/>
          <p:nvPr/>
        </p:nvGrpSpPr>
        <p:grpSpPr>
          <a:xfrm>
            <a:off x="9290400" y="1256176"/>
            <a:ext cx="553427" cy="635449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853" y="424576"/>
            <a:ext cx="8535126" cy="704825"/>
          </a:xfrm>
        </p:spPr>
        <p:txBody>
          <a:bodyPr/>
          <a:lstStyle/>
          <a:p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grated Emergency Response and Management for timely emergency care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644379" y="2091208"/>
            <a:ext cx="2663999" cy="4027103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6277" y="2197540"/>
            <a:ext cx="2500590" cy="4343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1685583" y="2731666"/>
            <a:ext cx="2583453" cy="337376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Lack of adequate emergency response healthcare infrastructure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Delays in access to timely care resulting in high causalitie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Low number of healthcare facilities and poor ambulatory facilitie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Delays in emergency care leading to loss of live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672774" y="2091208"/>
            <a:ext cx="2754970" cy="4027103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95500" y="2197540"/>
            <a:ext cx="2500590" cy="4343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90000" rIns="108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616644" y="2078327"/>
            <a:ext cx="2911961" cy="4027104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 liquidity to ULB due to predictable and consistent cash-flows</a:t>
            </a:r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610778" y="2197540"/>
            <a:ext cx="2500590" cy="434375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>
                <a:solidFill>
                  <a:srgbClr val="FFFFFF"/>
                </a:solidFill>
                <a:cs typeface="Arial" pitchFamily="34" charset="0"/>
              </a:rPr>
              <a:t>Impact/ Value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603377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17 state  t</a:t>
            </a:r>
          </a:p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722179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840982" y="1236406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722177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840979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603374" y="1236406"/>
            <a:ext cx="828000" cy="684000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033718" y="1379593"/>
            <a:ext cx="1003310" cy="3333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603375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10800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endParaRPr lang="en-US" sz="1400" dirty="0">
              <a:cs typeface="Arial" pitchFamily="34" charset="0"/>
            </a:endParaRP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722178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5720" tIns="27432" rIns="45720" bIns="27432" anchor="ctr"/>
          <a:lstStyle/>
          <a:p>
            <a:pPr marL="541338" algn="ctr" fontAlgn="base">
              <a:buClr>
                <a:srgbClr val="000000"/>
              </a:buClr>
              <a:buSzPct val="100000"/>
            </a:pPr>
            <a:r>
              <a:rPr lang="en-US" sz="1400" b="1" dirty="0">
                <a:cs typeface="Arial" pitchFamily="34" charset="0"/>
              </a:rPr>
              <a:t>  Healthcare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840980" y="1229152"/>
            <a:ext cx="2752019" cy="684000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90000" rIns="90000" bIns="90000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672774" y="2650780"/>
            <a:ext cx="2754970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End-to-end emergency management solution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Single number (108) for timely emergency medical support and care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chemeClr val="accent6">
                  <a:lumMod val="75000"/>
                </a:schemeClr>
              </a:buClr>
              <a:buSzPct val="100000"/>
              <a:buFont typeface="Arial" pitchFamily="34" charset="0"/>
              <a:buChar char="►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Integrated emergency management solution combining state-of-the-art technologies 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Multilingual contact center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GIS-GPRS based tracking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en-US" sz="14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ePatient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 records and disease surveillance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Fleet management system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Ambulance design</a:t>
            </a:r>
          </a:p>
        </p:txBody>
      </p:sp>
      <p:sp>
        <p:nvSpPr>
          <p:cNvPr id="464" name="Rectangle 463"/>
          <p:cNvSpPr/>
          <p:nvPr/>
        </p:nvSpPr>
        <p:spPr>
          <a:xfrm>
            <a:off x="8182550" y="2731666"/>
            <a:ext cx="2321551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59267" y="1440782"/>
            <a:ext cx="2304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en-IN" sz="1400" b="1" dirty="0">
                <a:cs typeface="Arial" pitchFamily="34" charset="0"/>
              </a:rPr>
              <a:t>17 Indian state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8066437" y="2638570"/>
            <a:ext cx="2419080" cy="2604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18000" bIns="36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cs typeface="Arial" pitchFamily="34" charset="0"/>
              </a:rPr>
              <a:t>Over 750+ million population covered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US" sz="1290" dirty="0">
                <a:solidFill>
                  <a:srgbClr val="000000"/>
                </a:solidFill>
                <a:cs typeface="Arial" pitchFamily="34" charset="0"/>
              </a:rPr>
              <a:t>22,000+ emergencies attended daily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US" sz="1290" dirty="0">
                <a:solidFill>
                  <a:srgbClr val="000000"/>
                </a:solidFill>
                <a:cs typeface="Arial" pitchFamily="34" charset="0"/>
              </a:rPr>
              <a:t>Over 1.2 Mn lives saved since 2005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cs typeface="Arial" pitchFamily="34" charset="0"/>
              </a:rPr>
              <a:t>Rapid emergency response: 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US" sz="1290" dirty="0">
                <a:solidFill>
                  <a:srgbClr val="000000"/>
                </a:solidFill>
                <a:cs typeface="Arial" pitchFamily="34" charset="0"/>
              </a:rPr>
              <a:t>160s seconds to dispatch ambulance</a:t>
            </a:r>
            <a:endParaRPr lang="en-GB" sz="1290" dirty="0">
              <a:solidFill>
                <a:srgbClr val="000000"/>
              </a:solidFill>
              <a:cs typeface="Arial" pitchFamily="34" charset="0"/>
            </a:endParaRP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GB" sz="1290" dirty="0">
                <a:solidFill>
                  <a:srgbClr val="000000"/>
                </a:solidFill>
                <a:cs typeface="Arial" pitchFamily="34" charset="0"/>
              </a:rPr>
              <a:t>Call pick up within 3 rings</a:t>
            </a:r>
          </a:p>
          <a:p>
            <a:pPr marL="288925" lvl="1" indent="-2889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  <a:buFont typeface="Arial" pitchFamily="34" charset="0"/>
              <a:buChar char="►"/>
            </a:pPr>
            <a:r>
              <a:rPr lang="en-GB" sz="1290" dirty="0">
                <a:solidFill>
                  <a:srgbClr val="000000"/>
                </a:solidFill>
                <a:cs typeface="Arial" pitchFamily="34" charset="0"/>
              </a:rPr>
              <a:t>18 minutes to reach site</a:t>
            </a:r>
            <a:endParaRPr lang="en-US" sz="1290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9463" name="Picture 7" descr="Tech Mahindra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133" y="1022371"/>
            <a:ext cx="1390650" cy="390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7769653" y="4100945"/>
            <a:ext cx="219468" cy="219468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7" name="Freeform 249"/>
          <p:cNvSpPr>
            <a:spLocks noChangeAspect="1" noEditPoints="1"/>
          </p:cNvSpPr>
          <p:nvPr/>
        </p:nvSpPr>
        <p:spPr bwMode="auto">
          <a:xfrm>
            <a:off x="7745134" y="2753689"/>
            <a:ext cx="232489" cy="298743"/>
          </a:xfrm>
          <a:custGeom>
            <a:avLst/>
            <a:gdLst/>
            <a:ahLst/>
            <a:cxnLst>
              <a:cxn ang="0">
                <a:pos x="50" y="43"/>
              </a:cxn>
              <a:cxn ang="0">
                <a:pos x="41" y="41"/>
              </a:cxn>
              <a:cxn ang="0">
                <a:pos x="32" y="43"/>
              </a:cxn>
              <a:cxn ang="0">
                <a:pos x="32" y="15"/>
              </a:cxn>
              <a:cxn ang="0">
                <a:pos x="9" y="15"/>
              </a:cxn>
              <a:cxn ang="0">
                <a:pos x="9" y="29"/>
              </a:cxn>
              <a:cxn ang="0">
                <a:pos x="20" y="49"/>
              </a:cxn>
              <a:cxn ang="0">
                <a:pos x="9" y="73"/>
              </a:cxn>
              <a:cxn ang="0">
                <a:pos x="41" y="105"/>
              </a:cxn>
              <a:cxn ang="0">
                <a:pos x="73" y="73"/>
              </a:cxn>
              <a:cxn ang="0">
                <a:pos x="60" y="48"/>
              </a:cxn>
              <a:cxn ang="0">
                <a:pos x="73" y="29"/>
              </a:cxn>
              <a:cxn ang="0">
                <a:pos x="73" y="15"/>
              </a:cxn>
              <a:cxn ang="0">
                <a:pos x="50" y="15"/>
              </a:cxn>
              <a:cxn ang="0">
                <a:pos x="50" y="43"/>
              </a:cxn>
              <a:cxn ang="0">
                <a:pos x="62" y="73"/>
              </a:cxn>
              <a:cxn ang="0">
                <a:pos x="41" y="94"/>
              </a:cxn>
              <a:cxn ang="0">
                <a:pos x="20" y="73"/>
              </a:cxn>
              <a:cxn ang="0">
                <a:pos x="41" y="53"/>
              </a:cxn>
              <a:cxn ang="0">
                <a:pos x="62" y="73"/>
              </a:cxn>
              <a:cxn ang="0">
                <a:pos x="0" y="0"/>
              </a:cxn>
              <a:cxn ang="0">
                <a:pos x="0" y="9"/>
              </a:cxn>
              <a:cxn ang="0">
                <a:pos x="82" y="9"/>
              </a:cxn>
              <a:cxn ang="0">
                <a:pos x="82" y="0"/>
              </a:cxn>
              <a:cxn ang="0">
                <a:pos x="0" y="0"/>
              </a:cxn>
              <a:cxn ang="0">
                <a:pos x="40" y="54"/>
              </a:cxn>
              <a:cxn ang="0">
                <a:pos x="36" y="67"/>
              </a:cxn>
              <a:cxn ang="0">
                <a:pos x="23" y="67"/>
              </a:cxn>
              <a:cxn ang="0">
                <a:pos x="22" y="67"/>
              </a:cxn>
              <a:cxn ang="0">
                <a:pos x="23" y="68"/>
              </a:cxn>
              <a:cxn ang="0">
                <a:pos x="33" y="76"/>
              </a:cxn>
              <a:cxn ang="0">
                <a:pos x="29" y="88"/>
              </a:cxn>
              <a:cxn ang="0">
                <a:pos x="29" y="89"/>
              </a:cxn>
              <a:cxn ang="0">
                <a:pos x="30" y="89"/>
              </a:cxn>
              <a:cxn ang="0">
                <a:pos x="41" y="81"/>
              </a:cxn>
              <a:cxn ang="0">
                <a:pos x="52" y="89"/>
              </a:cxn>
              <a:cxn ang="0">
                <a:pos x="52" y="89"/>
              </a:cxn>
              <a:cxn ang="0">
                <a:pos x="53" y="89"/>
              </a:cxn>
              <a:cxn ang="0">
                <a:pos x="53" y="88"/>
              </a:cxn>
              <a:cxn ang="0">
                <a:pos x="49" y="76"/>
              </a:cxn>
              <a:cxn ang="0">
                <a:pos x="59" y="68"/>
              </a:cxn>
              <a:cxn ang="0">
                <a:pos x="60" y="67"/>
              </a:cxn>
              <a:cxn ang="0">
                <a:pos x="59" y="67"/>
              </a:cxn>
              <a:cxn ang="0">
                <a:pos x="46" y="67"/>
              </a:cxn>
              <a:cxn ang="0">
                <a:pos x="42" y="54"/>
              </a:cxn>
              <a:cxn ang="0">
                <a:pos x="41" y="54"/>
              </a:cxn>
              <a:cxn ang="0">
                <a:pos x="40" y="54"/>
              </a:cxn>
            </a:cxnLst>
            <a:rect l="0" t="0" r="r" b="b"/>
            <a:pathLst>
              <a:path w="82" h="105">
                <a:moveTo>
                  <a:pt x="50" y="43"/>
                </a:moveTo>
                <a:cubicBezTo>
                  <a:pt x="47" y="42"/>
                  <a:pt x="44" y="41"/>
                  <a:pt x="41" y="41"/>
                </a:cubicBezTo>
                <a:cubicBezTo>
                  <a:pt x="38" y="41"/>
                  <a:pt x="35" y="42"/>
                  <a:pt x="32" y="43"/>
                </a:cubicBezTo>
                <a:cubicBezTo>
                  <a:pt x="32" y="15"/>
                  <a:pt x="32" y="15"/>
                  <a:pt x="32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29"/>
                  <a:pt x="9" y="29"/>
                  <a:pt x="9" y="29"/>
                </a:cubicBezTo>
                <a:cubicBezTo>
                  <a:pt x="20" y="49"/>
                  <a:pt x="20" y="49"/>
                  <a:pt x="20" y="49"/>
                </a:cubicBezTo>
                <a:cubicBezTo>
                  <a:pt x="13" y="55"/>
                  <a:pt x="9" y="64"/>
                  <a:pt x="9" y="73"/>
                </a:cubicBezTo>
                <a:cubicBezTo>
                  <a:pt x="9" y="91"/>
                  <a:pt x="23" y="105"/>
                  <a:pt x="41" y="105"/>
                </a:cubicBezTo>
                <a:cubicBezTo>
                  <a:pt x="59" y="105"/>
                  <a:pt x="73" y="91"/>
                  <a:pt x="73" y="73"/>
                </a:cubicBezTo>
                <a:cubicBezTo>
                  <a:pt x="73" y="63"/>
                  <a:pt x="68" y="54"/>
                  <a:pt x="60" y="48"/>
                </a:cubicBezTo>
                <a:cubicBezTo>
                  <a:pt x="73" y="29"/>
                  <a:pt x="73" y="29"/>
                  <a:pt x="73" y="29"/>
                </a:cubicBezTo>
                <a:cubicBezTo>
                  <a:pt x="73" y="15"/>
                  <a:pt x="73" y="15"/>
                  <a:pt x="73" y="15"/>
                </a:cubicBezTo>
                <a:cubicBezTo>
                  <a:pt x="50" y="15"/>
                  <a:pt x="50" y="15"/>
                  <a:pt x="50" y="15"/>
                </a:cubicBezTo>
                <a:lnTo>
                  <a:pt x="50" y="43"/>
                </a:lnTo>
                <a:close/>
                <a:moveTo>
                  <a:pt x="62" y="73"/>
                </a:moveTo>
                <a:cubicBezTo>
                  <a:pt x="62" y="85"/>
                  <a:pt x="52" y="94"/>
                  <a:pt x="41" y="94"/>
                </a:cubicBezTo>
                <a:cubicBezTo>
                  <a:pt x="30" y="94"/>
                  <a:pt x="20" y="85"/>
                  <a:pt x="20" y="73"/>
                </a:cubicBezTo>
                <a:cubicBezTo>
                  <a:pt x="20" y="62"/>
                  <a:pt x="30" y="53"/>
                  <a:pt x="41" y="53"/>
                </a:cubicBezTo>
                <a:cubicBezTo>
                  <a:pt x="52" y="53"/>
                  <a:pt x="62" y="62"/>
                  <a:pt x="62" y="73"/>
                </a:cubicBezTo>
                <a:close/>
                <a:moveTo>
                  <a:pt x="0" y="0"/>
                </a:moveTo>
                <a:cubicBezTo>
                  <a:pt x="0" y="9"/>
                  <a:pt x="0" y="9"/>
                  <a:pt x="0" y="9"/>
                </a:cubicBezTo>
                <a:cubicBezTo>
                  <a:pt x="82" y="9"/>
                  <a:pt x="82" y="9"/>
                  <a:pt x="82" y="9"/>
                </a:cubicBezTo>
                <a:cubicBezTo>
                  <a:pt x="82" y="0"/>
                  <a:pt x="82" y="0"/>
                  <a:pt x="82" y="0"/>
                </a:cubicBezTo>
                <a:lnTo>
                  <a:pt x="0" y="0"/>
                </a:lnTo>
                <a:close/>
                <a:moveTo>
                  <a:pt x="40" y="54"/>
                </a:moveTo>
                <a:cubicBezTo>
                  <a:pt x="36" y="67"/>
                  <a:pt x="36" y="67"/>
                  <a:pt x="36" y="67"/>
                </a:cubicBezTo>
                <a:cubicBezTo>
                  <a:pt x="23" y="67"/>
                  <a:pt x="23" y="67"/>
                  <a:pt x="23" y="67"/>
                </a:cubicBezTo>
                <a:cubicBezTo>
                  <a:pt x="23" y="67"/>
                  <a:pt x="22" y="67"/>
                  <a:pt x="22" y="67"/>
                </a:cubicBezTo>
                <a:cubicBezTo>
                  <a:pt x="22" y="68"/>
                  <a:pt x="22" y="68"/>
                  <a:pt x="23" y="68"/>
                </a:cubicBezTo>
                <a:cubicBezTo>
                  <a:pt x="33" y="76"/>
                  <a:pt x="33" y="76"/>
                  <a:pt x="33" y="76"/>
                </a:cubicBezTo>
                <a:cubicBezTo>
                  <a:pt x="29" y="88"/>
                  <a:pt x="29" y="88"/>
                  <a:pt x="29" y="88"/>
                </a:cubicBezTo>
                <a:cubicBezTo>
                  <a:pt x="29" y="89"/>
                  <a:pt x="29" y="89"/>
                  <a:pt x="29" y="89"/>
                </a:cubicBezTo>
                <a:cubicBezTo>
                  <a:pt x="30" y="89"/>
                  <a:pt x="30" y="89"/>
                  <a:pt x="30" y="89"/>
                </a:cubicBezTo>
                <a:cubicBezTo>
                  <a:pt x="41" y="81"/>
                  <a:pt x="41" y="81"/>
                  <a:pt x="41" y="81"/>
                </a:cubicBezTo>
                <a:cubicBezTo>
                  <a:pt x="52" y="89"/>
                  <a:pt x="52" y="89"/>
                  <a:pt x="52" y="89"/>
                </a:cubicBezTo>
                <a:cubicBezTo>
                  <a:pt x="52" y="89"/>
                  <a:pt x="52" y="89"/>
                  <a:pt x="52" y="89"/>
                </a:cubicBezTo>
                <a:cubicBezTo>
                  <a:pt x="52" y="89"/>
                  <a:pt x="52" y="89"/>
                  <a:pt x="53" y="89"/>
                </a:cubicBezTo>
                <a:cubicBezTo>
                  <a:pt x="53" y="89"/>
                  <a:pt x="53" y="89"/>
                  <a:pt x="53" y="88"/>
                </a:cubicBezTo>
                <a:cubicBezTo>
                  <a:pt x="49" y="76"/>
                  <a:pt x="49" y="76"/>
                  <a:pt x="49" y="76"/>
                </a:cubicBezTo>
                <a:cubicBezTo>
                  <a:pt x="59" y="68"/>
                  <a:pt x="59" y="68"/>
                  <a:pt x="59" y="68"/>
                </a:cubicBezTo>
                <a:cubicBezTo>
                  <a:pt x="60" y="68"/>
                  <a:pt x="60" y="68"/>
                  <a:pt x="60" y="67"/>
                </a:cubicBezTo>
                <a:cubicBezTo>
                  <a:pt x="60" y="67"/>
                  <a:pt x="59" y="67"/>
                  <a:pt x="59" y="67"/>
                </a:cubicBezTo>
                <a:cubicBezTo>
                  <a:pt x="46" y="67"/>
                  <a:pt x="46" y="67"/>
                  <a:pt x="46" y="67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1" y="54"/>
                  <a:pt x="41" y="54"/>
                </a:cubicBezTo>
                <a:cubicBezTo>
                  <a:pt x="41" y="54"/>
                  <a:pt x="40" y="54"/>
                  <a:pt x="40" y="54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4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7</a:t>
            </a:r>
            <a:endParaRPr lang="en-US" sz="800" kern="0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487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7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467" y="265238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23"/>
          <p:cNvGrpSpPr/>
          <p:nvPr/>
        </p:nvGrpSpPr>
        <p:grpSpPr>
          <a:xfrm>
            <a:off x="9044676" y="1248505"/>
            <a:ext cx="510856" cy="586568"/>
            <a:chOff x="8147399" y="1270464"/>
            <a:chExt cx="503115" cy="577681"/>
          </a:xfrm>
        </p:grpSpPr>
        <p:sp>
          <p:nvSpPr>
            <p:cNvPr id="425" name="Freeform 1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244387" y="1270464"/>
              <a:ext cx="119955" cy="99563"/>
            </a:xfrm>
            <a:custGeom>
              <a:avLst/>
              <a:gdLst>
                <a:gd name="T0" fmla="*/ 218 w 726"/>
                <a:gd name="T1" fmla="*/ 531 h 561"/>
                <a:gd name="T2" fmla="*/ 192 w 726"/>
                <a:gd name="T3" fmla="*/ 525 h 561"/>
                <a:gd name="T4" fmla="*/ 174 w 726"/>
                <a:gd name="T5" fmla="*/ 508 h 561"/>
                <a:gd name="T6" fmla="*/ 174 w 726"/>
                <a:gd name="T7" fmla="*/ 490 h 561"/>
                <a:gd name="T8" fmla="*/ 115 w 726"/>
                <a:gd name="T9" fmla="*/ 469 h 561"/>
                <a:gd name="T10" fmla="*/ 80 w 726"/>
                <a:gd name="T11" fmla="*/ 422 h 561"/>
                <a:gd name="T12" fmla="*/ 83 w 726"/>
                <a:gd name="T13" fmla="*/ 401 h 561"/>
                <a:gd name="T14" fmla="*/ 83 w 726"/>
                <a:gd name="T15" fmla="*/ 378 h 561"/>
                <a:gd name="T16" fmla="*/ 77 w 726"/>
                <a:gd name="T17" fmla="*/ 342 h 561"/>
                <a:gd name="T18" fmla="*/ 71 w 726"/>
                <a:gd name="T19" fmla="*/ 307 h 561"/>
                <a:gd name="T20" fmla="*/ 106 w 726"/>
                <a:gd name="T21" fmla="*/ 257 h 561"/>
                <a:gd name="T22" fmla="*/ 112 w 726"/>
                <a:gd name="T23" fmla="*/ 189 h 561"/>
                <a:gd name="T24" fmla="*/ 21 w 726"/>
                <a:gd name="T25" fmla="*/ 130 h 561"/>
                <a:gd name="T26" fmla="*/ 12 w 726"/>
                <a:gd name="T27" fmla="*/ 83 h 561"/>
                <a:gd name="T28" fmla="*/ 124 w 726"/>
                <a:gd name="T29" fmla="*/ 41 h 561"/>
                <a:gd name="T30" fmla="*/ 133 w 726"/>
                <a:gd name="T31" fmla="*/ 18 h 561"/>
                <a:gd name="T32" fmla="*/ 159 w 726"/>
                <a:gd name="T33" fmla="*/ 18 h 561"/>
                <a:gd name="T34" fmla="*/ 195 w 726"/>
                <a:gd name="T35" fmla="*/ 12 h 561"/>
                <a:gd name="T36" fmla="*/ 215 w 726"/>
                <a:gd name="T37" fmla="*/ 9 h 561"/>
                <a:gd name="T38" fmla="*/ 239 w 726"/>
                <a:gd name="T39" fmla="*/ 15 h 561"/>
                <a:gd name="T40" fmla="*/ 263 w 726"/>
                <a:gd name="T41" fmla="*/ 18 h 561"/>
                <a:gd name="T42" fmla="*/ 274 w 726"/>
                <a:gd name="T43" fmla="*/ 41 h 561"/>
                <a:gd name="T44" fmla="*/ 292 w 726"/>
                <a:gd name="T45" fmla="*/ 41 h 561"/>
                <a:gd name="T46" fmla="*/ 322 w 726"/>
                <a:gd name="T47" fmla="*/ 65 h 561"/>
                <a:gd name="T48" fmla="*/ 398 w 726"/>
                <a:gd name="T49" fmla="*/ 124 h 561"/>
                <a:gd name="T50" fmla="*/ 460 w 726"/>
                <a:gd name="T51" fmla="*/ 180 h 561"/>
                <a:gd name="T52" fmla="*/ 466 w 726"/>
                <a:gd name="T53" fmla="*/ 195 h 561"/>
                <a:gd name="T54" fmla="*/ 499 w 726"/>
                <a:gd name="T55" fmla="*/ 198 h 561"/>
                <a:gd name="T56" fmla="*/ 519 w 726"/>
                <a:gd name="T57" fmla="*/ 192 h 561"/>
                <a:gd name="T58" fmla="*/ 549 w 726"/>
                <a:gd name="T59" fmla="*/ 168 h 561"/>
                <a:gd name="T60" fmla="*/ 581 w 726"/>
                <a:gd name="T61" fmla="*/ 148 h 561"/>
                <a:gd name="T62" fmla="*/ 626 w 726"/>
                <a:gd name="T63" fmla="*/ 151 h 561"/>
                <a:gd name="T64" fmla="*/ 643 w 726"/>
                <a:gd name="T65" fmla="*/ 156 h 561"/>
                <a:gd name="T66" fmla="*/ 664 w 726"/>
                <a:gd name="T67" fmla="*/ 177 h 561"/>
                <a:gd name="T68" fmla="*/ 694 w 726"/>
                <a:gd name="T69" fmla="*/ 198 h 561"/>
                <a:gd name="T70" fmla="*/ 714 w 726"/>
                <a:gd name="T71" fmla="*/ 195 h 561"/>
                <a:gd name="T72" fmla="*/ 720 w 726"/>
                <a:gd name="T73" fmla="*/ 218 h 561"/>
                <a:gd name="T74" fmla="*/ 711 w 726"/>
                <a:gd name="T75" fmla="*/ 263 h 561"/>
                <a:gd name="T76" fmla="*/ 688 w 726"/>
                <a:gd name="T77" fmla="*/ 298 h 561"/>
                <a:gd name="T78" fmla="*/ 670 w 726"/>
                <a:gd name="T79" fmla="*/ 319 h 561"/>
                <a:gd name="T80" fmla="*/ 655 w 726"/>
                <a:gd name="T81" fmla="*/ 333 h 561"/>
                <a:gd name="T82" fmla="*/ 626 w 726"/>
                <a:gd name="T83" fmla="*/ 369 h 561"/>
                <a:gd name="T84" fmla="*/ 590 w 726"/>
                <a:gd name="T85" fmla="*/ 369 h 561"/>
                <a:gd name="T86" fmla="*/ 602 w 726"/>
                <a:gd name="T87" fmla="*/ 404 h 561"/>
                <a:gd name="T88" fmla="*/ 593 w 726"/>
                <a:gd name="T89" fmla="*/ 425 h 561"/>
                <a:gd name="T90" fmla="*/ 605 w 726"/>
                <a:gd name="T91" fmla="*/ 451 h 561"/>
                <a:gd name="T92" fmla="*/ 637 w 726"/>
                <a:gd name="T93" fmla="*/ 466 h 561"/>
                <a:gd name="T94" fmla="*/ 640 w 726"/>
                <a:gd name="T95" fmla="*/ 499 h 561"/>
                <a:gd name="T96" fmla="*/ 643 w 726"/>
                <a:gd name="T97" fmla="*/ 531 h 561"/>
                <a:gd name="T98" fmla="*/ 614 w 726"/>
                <a:gd name="T99" fmla="*/ 540 h 561"/>
                <a:gd name="T100" fmla="*/ 587 w 726"/>
                <a:gd name="T101" fmla="*/ 558 h 561"/>
                <a:gd name="T102" fmla="*/ 573 w 726"/>
                <a:gd name="T103" fmla="*/ 525 h 561"/>
                <a:gd name="T104" fmla="*/ 546 w 726"/>
                <a:gd name="T105" fmla="*/ 531 h 561"/>
                <a:gd name="T106" fmla="*/ 540 w 726"/>
                <a:gd name="T107" fmla="*/ 522 h 561"/>
                <a:gd name="T108" fmla="*/ 493 w 726"/>
                <a:gd name="T109" fmla="*/ 508 h 561"/>
                <a:gd name="T110" fmla="*/ 440 w 726"/>
                <a:gd name="T111" fmla="*/ 499 h 561"/>
                <a:gd name="T112" fmla="*/ 390 w 726"/>
                <a:gd name="T113" fmla="*/ 454 h 561"/>
                <a:gd name="T114" fmla="*/ 331 w 726"/>
                <a:gd name="T115" fmla="*/ 472 h 561"/>
                <a:gd name="T116" fmla="*/ 298 w 726"/>
                <a:gd name="T117" fmla="*/ 499 h 561"/>
                <a:gd name="T118" fmla="*/ 280 w 726"/>
                <a:gd name="T119" fmla="*/ 537 h 561"/>
                <a:gd name="T120" fmla="*/ 254 w 726"/>
                <a:gd name="T121" fmla="*/ 552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61"/>
                <a:gd name="T185" fmla="*/ 726 w 726"/>
                <a:gd name="T186" fmla="*/ 561 h 5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61">
                  <a:moveTo>
                    <a:pt x="239" y="549"/>
                  </a:moveTo>
                  <a:lnTo>
                    <a:pt x="236" y="546"/>
                  </a:lnTo>
                  <a:lnTo>
                    <a:pt x="233" y="546"/>
                  </a:lnTo>
                  <a:lnTo>
                    <a:pt x="233" y="543"/>
                  </a:lnTo>
                  <a:lnTo>
                    <a:pt x="230" y="543"/>
                  </a:lnTo>
                  <a:lnTo>
                    <a:pt x="230" y="540"/>
                  </a:lnTo>
                  <a:lnTo>
                    <a:pt x="227" y="540"/>
                  </a:lnTo>
                  <a:lnTo>
                    <a:pt x="224" y="537"/>
                  </a:lnTo>
                  <a:lnTo>
                    <a:pt x="221" y="537"/>
                  </a:lnTo>
                  <a:lnTo>
                    <a:pt x="218" y="537"/>
                  </a:lnTo>
                  <a:lnTo>
                    <a:pt x="218" y="534"/>
                  </a:lnTo>
                  <a:lnTo>
                    <a:pt x="218" y="531"/>
                  </a:lnTo>
                  <a:lnTo>
                    <a:pt x="215" y="531"/>
                  </a:lnTo>
                  <a:lnTo>
                    <a:pt x="215" y="528"/>
                  </a:lnTo>
                  <a:lnTo>
                    <a:pt x="213" y="528"/>
                  </a:lnTo>
                  <a:lnTo>
                    <a:pt x="210" y="528"/>
                  </a:lnTo>
                  <a:lnTo>
                    <a:pt x="207" y="531"/>
                  </a:lnTo>
                  <a:lnTo>
                    <a:pt x="204" y="531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98" y="528"/>
                  </a:lnTo>
                  <a:lnTo>
                    <a:pt x="195" y="528"/>
                  </a:lnTo>
                  <a:lnTo>
                    <a:pt x="195" y="525"/>
                  </a:lnTo>
                  <a:lnTo>
                    <a:pt x="192" y="525"/>
                  </a:lnTo>
                  <a:lnTo>
                    <a:pt x="189" y="525"/>
                  </a:lnTo>
                  <a:lnTo>
                    <a:pt x="189" y="528"/>
                  </a:lnTo>
                  <a:lnTo>
                    <a:pt x="183" y="528"/>
                  </a:lnTo>
                  <a:lnTo>
                    <a:pt x="180" y="528"/>
                  </a:lnTo>
                  <a:lnTo>
                    <a:pt x="177" y="525"/>
                  </a:lnTo>
                  <a:lnTo>
                    <a:pt x="177" y="522"/>
                  </a:lnTo>
                  <a:lnTo>
                    <a:pt x="177" y="519"/>
                  </a:lnTo>
                  <a:lnTo>
                    <a:pt x="174" y="519"/>
                  </a:lnTo>
                  <a:lnTo>
                    <a:pt x="174" y="516"/>
                  </a:lnTo>
                  <a:lnTo>
                    <a:pt x="174" y="513"/>
                  </a:lnTo>
                  <a:lnTo>
                    <a:pt x="174" y="511"/>
                  </a:lnTo>
                  <a:lnTo>
                    <a:pt x="174" y="508"/>
                  </a:lnTo>
                  <a:lnTo>
                    <a:pt x="177" y="508"/>
                  </a:lnTo>
                  <a:lnTo>
                    <a:pt x="177" y="505"/>
                  </a:lnTo>
                  <a:lnTo>
                    <a:pt x="174" y="502"/>
                  </a:lnTo>
                  <a:lnTo>
                    <a:pt x="174" y="499"/>
                  </a:lnTo>
                  <a:lnTo>
                    <a:pt x="177" y="496"/>
                  </a:lnTo>
                  <a:lnTo>
                    <a:pt x="177" y="493"/>
                  </a:lnTo>
                  <a:lnTo>
                    <a:pt x="180" y="490"/>
                  </a:lnTo>
                  <a:lnTo>
                    <a:pt x="180" y="487"/>
                  </a:lnTo>
                  <a:lnTo>
                    <a:pt x="180" y="484"/>
                  </a:lnTo>
                  <a:lnTo>
                    <a:pt x="177" y="484"/>
                  </a:lnTo>
                  <a:lnTo>
                    <a:pt x="177" y="487"/>
                  </a:lnTo>
                  <a:lnTo>
                    <a:pt x="174" y="490"/>
                  </a:lnTo>
                  <a:lnTo>
                    <a:pt x="174" y="493"/>
                  </a:lnTo>
                  <a:lnTo>
                    <a:pt x="171" y="493"/>
                  </a:lnTo>
                  <a:lnTo>
                    <a:pt x="168" y="496"/>
                  </a:lnTo>
                  <a:lnTo>
                    <a:pt x="165" y="496"/>
                  </a:lnTo>
                  <a:lnTo>
                    <a:pt x="162" y="493"/>
                  </a:lnTo>
                  <a:lnTo>
                    <a:pt x="159" y="493"/>
                  </a:lnTo>
                  <a:lnTo>
                    <a:pt x="156" y="493"/>
                  </a:lnTo>
                  <a:lnTo>
                    <a:pt x="148" y="490"/>
                  </a:lnTo>
                  <a:lnTo>
                    <a:pt x="142" y="487"/>
                  </a:lnTo>
                  <a:lnTo>
                    <a:pt x="133" y="481"/>
                  </a:lnTo>
                  <a:lnTo>
                    <a:pt x="118" y="472"/>
                  </a:lnTo>
                  <a:lnTo>
                    <a:pt x="115" y="469"/>
                  </a:lnTo>
                  <a:lnTo>
                    <a:pt x="112" y="466"/>
                  </a:lnTo>
                  <a:lnTo>
                    <a:pt x="106" y="463"/>
                  </a:lnTo>
                  <a:lnTo>
                    <a:pt x="103" y="463"/>
                  </a:lnTo>
                  <a:lnTo>
                    <a:pt x="100" y="463"/>
                  </a:lnTo>
                  <a:lnTo>
                    <a:pt x="97" y="460"/>
                  </a:lnTo>
                  <a:lnTo>
                    <a:pt x="92" y="454"/>
                  </a:lnTo>
                  <a:lnTo>
                    <a:pt x="83" y="449"/>
                  </a:lnTo>
                  <a:lnTo>
                    <a:pt x="86" y="446"/>
                  </a:lnTo>
                  <a:lnTo>
                    <a:pt x="83" y="437"/>
                  </a:lnTo>
                  <a:lnTo>
                    <a:pt x="80" y="431"/>
                  </a:lnTo>
                  <a:lnTo>
                    <a:pt x="80" y="425"/>
                  </a:lnTo>
                  <a:lnTo>
                    <a:pt x="80" y="422"/>
                  </a:lnTo>
                  <a:lnTo>
                    <a:pt x="77" y="422"/>
                  </a:lnTo>
                  <a:lnTo>
                    <a:pt x="77" y="419"/>
                  </a:lnTo>
                  <a:lnTo>
                    <a:pt x="77" y="416"/>
                  </a:lnTo>
                  <a:lnTo>
                    <a:pt x="77" y="413"/>
                  </a:lnTo>
                  <a:lnTo>
                    <a:pt x="80" y="413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3" y="407"/>
                  </a:lnTo>
                  <a:lnTo>
                    <a:pt x="80" y="407"/>
                  </a:lnTo>
                  <a:lnTo>
                    <a:pt x="80" y="404"/>
                  </a:lnTo>
                  <a:lnTo>
                    <a:pt x="83" y="404"/>
                  </a:lnTo>
                  <a:lnTo>
                    <a:pt x="83" y="401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2"/>
                  </a:lnTo>
                  <a:lnTo>
                    <a:pt x="80" y="392"/>
                  </a:lnTo>
                  <a:lnTo>
                    <a:pt x="80" y="390"/>
                  </a:lnTo>
                  <a:lnTo>
                    <a:pt x="77" y="390"/>
                  </a:lnTo>
                  <a:lnTo>
                    <a:pt x="80" y="390"/>
                  </a:lnTo>
                  <a:lnTo>
                    <a:pt x="80" y="387"/>
                  </a:lnTo>
                  <a:lnTo>
                    <a:pt x="80" y="384"/>
                  </a:lnTo>
                  <a:lnTo>
                    <a:pt x="80" y="381"/>
                  </a:lnTo>
                  <a:lnTo>
                    <a:pt x="83" y="381"/>
                  </a:lnTo>
                  <a:lnTo>
                    <a:pt x="83" y="378"/>
                  </a:lnTo>
                  <a:lnTo>
                    <a:pt x="83" y="375"/>
                  </a:lnTo>
                  <a:lnTo>
                    <a:pt x="80" y="375"/>
                  </a:lnTo>
                  <a:lnTo>
                    <a:pt x="80" y="372"/>
                  </a:lnTo>
                  <a:lnTo>
                    <a:pt x="80" y="369"/>
                  </a:lnTo>
                  <a:lnTo>
                    <a:pt x="80" y="366"/>
                  </a:lnTo>
                  <a:lnTo>
                    <a:pt x="83" y="363"/>
                  </a:lnTo>
                  <a:lnTo>
                    <a:pt x="83" y="360"/>
                  </a:lnTo>
                  <a:lnTo>
                    <a:pt x="83" y="357"/>
                  </a:lnTo>
                  <a:lnTo>
                    <a:pt x="80" y="354"/>
                  </a:lnTo>
                  <a:lnTo>
                    <a:pt x="77" y="348"/>
                  </a:lnTo>
                  <a:lnTo>
                    <a:pt x="77" y="345"/>
                  </a:lnTo>
                  <a:lnTo>
                    <a:pt x="77" y="342"/>
                  </a:lnTo>
                  <a:lnTo>
                    <a:pt x="77" y="339"/>
                  </a:lnTo>
                  <a:lnTo>
                    <a:pt x="77" y="336"/>
                  </a:lnTo>
                  <a:lnTo>
                    <a:pt x="74" y="333"/>
                  </a:lnTo>
                  <a:lnTo>
                    <a:pt x="77" y="331"/>
                  </a:lnTo>
                  <a:lnTo>
                    <a:pt x="74" y="328"/>
                  </a:lnTo>
                  <a:lnTo>
                    <a:pt x="77" y="325"/>
                  </a:lnTo>
                  <a:lnTo>
                    <a:pt x="77" y="322"/>
                  </a:lnTo>
                  <a:lnTo>
                    <a:pt x="74" y="319"/>
                  </a:lnTo>
                  <a:lnTo>
                    <a:pt x="74" y="316"/>
                  </a:lnTo>
                  <a:lnTo>
                    <a:pt x="74" y="313"/>
                  </a:lnTo>
                  <a:lnTo>
                    <a:pt x="74" y="310"/>
                  </a:lnTo>
                  <a:lnTo>
                    <a:pt x="71" y="307"/>
                  </a:lnTo>
                  <a:lnTo>
                    <a:pt x="71" y="304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5"/>
                  </a:lnTo>
                  <a:lnTo>
                    <a:pt x="74" y="286"/>
                  </a:lnTo>
                  <a:lnTo>
                    <a:pt x="83" y="280"/>
                  </a:lnTo>
                  <a:lnTo>
                    <a:pt x="92" y="280"/>
                  </a:lnTo>
                  <a:lnTo>
                    <a:pt x="94" y="280"/>
                  </a:lnTo>
                  <a:lnTo>
                    <a:pt x="97" y="274"/>
                  </a:lnTo>
                  <a:lnTo>
                    <a:pt x="97" y="269"/>
                  </a:lnTo>
                  <a:lnTo>
                    <a:pt x="103" y="260"/>
                  </a:lnTo>
                  <a:lnTo>
                    <a:pt x="106" y="257"/>
                  </a:lnTo>
                  <a:lnTo>
                    <a:pt x="124" y="251"/>
                  </a:lnTo>
                  <a:lnTo>
                    <a:pt x="130" y="245"/>
                  </a:lnTo>
                  <a:lnTo>
                    <a:pt x="136" y="236"/>
                  </a:lnTo>
                  <a:lnTo>
                    <a:pt x="139" y="233"/>
                  </a:lnTo>
                  <a:lnTo>
                    <a:pt x="139" y="227"/>
                  </a:lnTo>
                  <a:lnTo>
                    <a:pt x="142" y="221"/>
                  </a:lnTo>
                  <a:lnTo>
                    <a:pt x="130" y="218"/>
                  </a:lnTo>
                  <a:lnTo>
                    <a:pt x="127" y="212"/>
                  </a:lnTo>
                  <a:lnTo>
                    <a:pt x="118" y="210"/>
                  </a:lnTo>
                  <a:lnTo>
                    <a:pt x="109" y="212"/>
                  </a:lnTo>
                  <a:lnTo>
                    <a:pt x="106" y="201"/>
                  </a:lnTo>
                  <a:lnTo>
                    <a:pt x="112" y="189"/>
                  </a:lnTo>
                  <a:lnTo>
                    <a:pt x="118" y="183"/>
                  </a:lnTo>
                  <a:lnTo>
                    <a:pt x="115" y="177"/>
                  </a:lnTo>
                  <a:lnTo>
                    <a:pt x="103" y="171"/>
                  </a:lnTo>
                  <a:lnTo>
                    <a:pt x="86" y="168"/>
                  </a:lnTo>
                  <a:lnTo>
                    <a:pt x="71" y="159"/>
                  </a:lnTo>
                  <a:lnTo>
                    <a:pt x="59" y="151"/>
                  </a:lnTo>
                  <a:lnTo>
                    <a:pt x="56" y="139"/>
                  </a:lnTo>
                  <a:lnTo>
                    <a:pt x="56" y="133"/>
                  </a:lnTo>
                  <a:lnTo>
                    <a:pt x="50" y="127"/>
                  </a:lnTo>
                  <a:lnTo>
                    <a:pt x="35" y="133"/>
                  </a:lnTo>
                  <a:lnTo>
                    <a:pt x="30" y="127"/>
                  </a:lnTo>
                  <a:lnTo>
                    <a:pt x="21" y="130"/>
                  </a:lnTo>
                  <a:lnTo>
                    <a:pt x="15" y="130"/>
                  </a:lnTo>
                  <a:lnTo>
                    <a:pt x="9" y="133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5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0" y="100"/>
                  </a:lnTo>
                  <a:lnTo>
                    <a:pt x="6" y="91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21" y="83"/>
                  </a:lnTo>
                  <a:lnTo>
                    <a:pt x="35" y="71"/>
                  </a:lnTo>
                  <a:lnTo>
                    <a:pt x="41" y="62"/>
                  </a:lnTo>
                  <a:lnTo>
                    <a:pt x="50" y="59"/>
                  </a:lnTo>
                  <a:lnTo>
                    <a:pt x="47" y="53"/>
                  </a:lnTo>
                  <a:lnTo>
                    <a:pt x="59" y="44"/>
                  </a:lnTo>
                  <a:lnTo>
                    <a:pt x="62" y="35"/>
                  </a:lnTo>
                  <a:lnTo>
                    <a:pt x="65" y="35"/>
                  </a:lnTo>
                  <a:lnTo>
                    <a:pt x="86" y="35"/>
                  </a:lnTo>
                  <a:lnTo>
                    <a:pt x="97" y="35"/>
                  </a:lnTo>
                  <a:lnTo>
                    <a:pt x="109" y="38"/>
                  </a:lnTo>
                  <a:lnTo>
                    <a:pt x="124" y="41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0" y="30"/>
                  </a:lnTo>
                  <a:lnTo>
                    <a:pt x="112" y="15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1" y="15"/>
                  </a:lnTo>
                  <a:lnTo>
                    <a:pt x="124" y="15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30" y="18"/>
                  </a:lnTo>
                  <a:lnTo>
                    <a:pt x="133" y="18"/>
                  </a:lnTo>
                  <a:lnTo>
                    <a:pt x="136" y="18"/>
                  </a:lnTo>
                  <a:lnTo>
                    <a:pt x="139" y="18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7"/>
                  </a:lnTo>
                  <a:lnTo>
                    <a:pt x="151" y="27"/>
                  </a:lnTo>
                  <a:lnTo>
                    <a:pt x="153" y="24"/>
                  </a:lnTo>
                  <a:lnTo>
                    <a:pt x="156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18"/>
                  </a:lnTo>
                  <a:lnTo>
                    <a:pt x="171" y="18"/>
                  </a:lnTo>
                  <a:lnTo>
                    <a:pt x="174" y="15"/>
                  </a:lnTo>
                  <a:lnTo>
                    <a:pt x="177" y="15"/>
                  </a:lnTo>
                  <a:lnTo>
                    <a:pt x="180" y="12"/>
                  </a:lnTo>
                  <a:lnTo>
                    <a:pt x="183" y="12"/>
                  </a:lnTo>
                  <a:lnTo>
                    <a:pt x="186" y="9"/>
                  </a:lnTo>
                  <a:lnTo>
                    <a:pt x="192" y="9"/>
                  </a:lnTo>
                  <a:lnTo>
                    <a:pt x="195" y="9"/>
                  </a:lnTo>
                  <a:lnTo>
                    <a:pt x="195" y="12"/>
                  </a:lnTo>
                  <a:lnTo>
                    <a:pt x="195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4" y="3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10" y="0"/>
                  </a:lnTo>
                  <a:lnTo>
                    <a:pt x="213" y="6"/>
                  </a:lnTo>
                  <a:lnTo>
                    <a:pt x="213" y="9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1" y="3"/>
                  </a:lnTo>
                  <a:lnTo>
                    <a:pt x="224" y="3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4" y="12"/>
                  </a:lnTo>
                  <a:lnTo>
                    <a:pt x="227" y="18"/>
                  </a:lnTo>
                  <a:lnTo>
                    <a:pt x="230" y="18"/>
                  </a:lnTo>
                  <a:lnTo>
                    <a:pt x="233" y="15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2" y="9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1" y="12"/>
                  </a:lnTo>
                  <a:lnTo>
                    <a:pt x="254" y="12"/>
                  </a:lnTo>
                  <a:lnTo>
                    <a:pt x="254" y="15"/>
                  </a:lnTo>
                  <a:lnTo>
                    <a:pt x="257" y="18"/>
                  </a:lnTo>
                  <a:lnTo>
                    <a:pt x="260" y="18"/>
                  </a:lnTo>
                  <a:lnTo>
                    <a:pt x="263" y="18"/>
                  </a:lnTo>
                  <a:lnTo>
                    <a:pt x="266" y="18"/>
                  </a:lnTo>
                  <a:lnTo>
                    <a:pt x="269" y="21"/>
                  </a:lnTo>
                  <a:lnTo>
                    <a:pt x="272" y="21"/>
                  </a:lnTo>
                  <a:lnTo>
                    <a:pt x="274" y="21"/>
                  </a:lnTo>
                  <a:lnTo>
                    <a:pt x="274" y="24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7" y="30"/>
                  </a:lnTo>
                  <a:lnTo>
                    <a:pt x="277" y="32"/>
                  </a:lnTo>
                  <a:lnTo>
                    <a:pt x="274" y="35"/>
                  </a:lnTo>
                  <a:lnTo>
                    <a:pt x="274" y="38"/>
                  </a:lnTo>
                  <a:lnTo>
                    <a:pt x="274" y="41"/>
                  </a:lnTo>
                  <a:lnTo>
                    <a:pt x="277" y="41"/>
                  </a:lnTo>
                  <a:lnTo>
                    <a:pt x="277" y="44"/>
                  </a:lnTo>
                  <a:lnTo>
                    <a:pt x="277" y="47"/>
                  </a:lnTo>
                  <a:lnTo>
                    <a:pt x="280" y="47"/>
                  </a:lnTo>
                  <a:lnTo>
                    <a:pt x="280" y="44"/>
                  </a:lnTo>
                  <a:lnTo>
                    <a:pt x="283" y="44"/>
                  </a:lnTo>
                  <a:lnTo>
                    <a:pt x="283" y="47"/>
                  </a:lnTo>
                  <a:lnTo>
                    <a:pt x="286" y="47"/>
                  </a:lnTo>
                  <a:lnTo>
                    <a:pt x="286" y="44"/>
                  </a:lnTo>
                  <a:lnTo>
                    <a:pt x="286" y="41"/>
                  </a:lnTo>
                  <a:lnTo>
                    <a:pt x="289" y="41"/>
                  </a:lnTo>
                  <a:lnTo>
                    <a:pt x="292" y="41"/>
                  </a:lnTo>
                  <a:lnTo>
                    <a:pt x="295" y="41"/>
                  </a:lnTo>
                  <a:lnTo>
                    <a:pt x="298" y="41"/>
                  </a:lnTo>
                  <a:lnTo>
                    <a:pt x="298" y="44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50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6" y="56"/>
                  </a:lnTo>
                  <a:lnTo>
                    <a:pt x="319" y="59"/>
                  </a:lnTo>
                  <a:lnTo>
                    <a:pt x="322" y="62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8" y="71"/>
                  </a:lnTo>
                  <a:lnTo>
                    <a:pt x="339" y="77"/>
                  </a:lnTo>
                  <a:lnTo>
                    <a:pt x="351" y="86"/>
                  </a:lnTo>
                  <a:lnTo>
                    <a:pt x="351" y="89"/>
                  </a:lnTo>
                  <a:lnTo>
                    <a:pt x="357" y="89"/>
                  </a:lnTo>
                  <a:lnTo>
                    <a:pt x="366" y="91"/>
                  </a:lnTo>
                  <a:lnTo>
                    <a:pt x="369" y="97"/>
                  </a:lnTo>
                  <a:lnTo>
                    <a:pt x="375" y="109"/>
                  </a:lnTo>
                  <a:lnTo>
                    <a:pt x="384" y="112"/>
                  </a:lnTo>
                  <a:lnTo>
                    <a:pt x="393" y="118"/>
                  </a:lnTo>
                  <a:lnTo>
                    <a:pt x="398" y="124"/>
                  </a:lnTo>
                  <a:lnTo>
                    <a:pt x="398" y="130"/>
                  </a:lnTo>
                  <a:lnTo>
                    <a:pt x="395" y="136"/>
                  </a:lnTo>
                  <a:lnTo>
                    <a:pt x="395" y="139"/>
                  </a:lnTo>
                  <a:lnTo>
                    <a:pt x="410" y="153"/>
                  </a:lnTo>
                  <a:lnTo>
                    <a:pt x="419" y="159"/>
                  </a:lnTo>
                  <a:lnTo>
                    <a:pt x="428" y="159"/>
                  </a:lnTo>
                  <a:lnTo>
                    <a:pt x="434" y="159"/>
                  </a:lnTo>
                  <a:lnTo>
                    <a:pt x="440" y="165"/>
                  </a:lnTo>
                  <a:lnTo>
                    <a:pt x="449" y="168"/>
                  </a:lnTo>
                  <a:lnTo>
                    <a:pt x="455" y="168"/>
                  </a:lnTo>
                  <a:lnTo>
                    <a:pt x="460" y="174"/>
                  </a:lnTo>
                  <a:lnTo>
                    <a:pt x="460" y="180"/>
                  </a:lnTo>
                  <a:lnTo>
                    <a:pt x="463" y="186"/>
                  </a:lnTo>
                  <a:lnTo>
                    <a:pt x="463" y="189"/>
                  </a:lnTo>
                  <a:lnTo>
                    <a:pt x="455" y="186"/>
                  </a:lnTo>
                  <a:lnTo>
                    <a:pt x="452" y="183"/>
                  </a:lnTo>
                  <a:lnTo>
                    <a:pt x="449" y="186"/>
                  </a:lnTo>
                  <a:lnTo>
                    <a:pt x="446" y="192"/>
                  </a:lnTo>
                  <a:lnTo>
                    <a:pt x="449" y="195"/>
                  </a:lnTo>
                  <a:lnTo>
                    <a:pt x="452" y="198"/>
                  </a:lnTo>
                  <a:lnTo>
                    <a:pt x="455" y="198"/>
                  </a:lnTo>
                  <a:lnTo>
                    <a:pt x="457" y="198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9" y="198"/>
                  </a:lnTo>
                  <a:lnTo>
                    <a:pt x="472" y="198"/>
                  </a:lnTo>
                  <a:lnTo>
                    <a:pt x="475" y="198"/>
                  </a:lnTo>
                  <a:lnTo>
                    <a:pt x="478" y="198"/>
                  </a:lnTo>
                  <a:lnTo>
                    <a:pt x="481" y="198"/>
                  </a:lnTo>
                  <a:lnTo>
                    <a:pt x="484" y="195"/>
                  </a:lnTo>
                  <a:lnTo>
                    <a:pt x="487" y="195"/>
                  </a:lnTo>
                  <a:lnTo>
                    <a:pt x="490" y="195"/>
                  </a:lnTo>
                  <a:lnTo>
                    <a:pt x="493" y="195"/>
                  </a:lnTo>
                  <a:lnTo>
                    <a:pt x="493" y="198"/>
                  </a:lnTo>
                  <a:lnTo>
                    <a:pt x="496" y="198"/>
                  </a:lnTo>
                  <a:lnTo>
                    <a:pt x="499" y="198"/>
                  </a:lnTo>
                  <a:lnTo>
                    <a:pt x="502" y="198"/>
                  </a:lnTo>
                  <a:lnTo>
                    <a:pt x="505" y="195"/>
                  </a:lnTo>
                  <a:lnTo>
                    <a:pt x="505" y="192"/>
                  </a:lnTo>
                  <a:lnTo>
                    <a:pt x="505" y="189"/>
                  </a:lnTo>
                  <a:lnTo>
                    <a:pt x="505" y="186"/>
                  </a:lnTo>
                  <a:lnTo>
                    <a:pt x="508" y="186"/>
                  </a:lnTo>
                  <a:lnTo>
                    <a:pt x="511" y="186"/>
                  </a:lnTo>
                  <a:lnTo>
                    <a:pt x="514" y="186"/>
                  </a:lnTo>
                  <a:lnTo>
                    <a:pt x="514" y="189"/>
                  </a:lnTo>
                  <a:lnTo>
                    <a:pt x="516" y="189"/>
                  </a:lnTo>
                  <a:lnTo>
                    <a:pt x="519" y="189"/>
                  </a:lnTo>
                  <a:lnTo>
                    <a:pt x="519" y="192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22" y="186"/>
                  </a:lnTo>
                  <a:lnTo>
                    <a:pt x="525" y="180"/>
                  </a:lnTo>
                  <a:lnTo>
                    <a:pt x="525" y="177"/>
                  </a:lnTo>
                  <a:lnTo>
                    <a:pt x="528" y="177"/>
                  </a:lnTo>
                  <a:lnTo>
                    <a:pt x="531" y="177"/>
                  </a:lnTo>
                  <a:lnTo>
                    <a:pt x="537" y="174"/>
                  </a:lnTo>
                  <a:lnTo>
                    <a:pt x="540" y="171"/>
                  </a:lnTo>
                  <a:lnTo>
                    <a:pt x="543" y="168"/>
                  </a:lnTo>
                  <a:lnTo>
                    <a:pt x="546" y="168"/>
                  </a:lnTo>
                  <a:lnTo>
                    <a:pt x="549" y="168"/>
                  </a:lnTo>
                  <a:lnTo>
                    <a:pt x="549" y="165"/>
                  </a:lnTo>
                  <a:lnTo>
                    <a:pt x="552" y="165"/>
                  </a:lnTo>
                  <a:lnTo>
                    <a:pt x="555" y="165"/>
                  </a:lnTo>
                  <a:lnTo>
                    <a:pt x="558" y="162"/>
                  </a:lnTo>
                  <a:lnTo>
                    <a:pt x="561" y="162"/>
                  </a:lnTo>
                  <a:lnTo>
                    <a:pt x="567" y="159"/>
                  </a:lnTo>
                  <a:lnTo>
                    <a:pt x="570" y="156"/>
                  </a:lnTo>
                  <a:lnTo>
                    <a:pt x="570" y="153"/>
                  </a:lnTo>
                  <a:lnTo>
                    <a:pt x="573" y="153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81" y="148"/>
                  </a:lnTo>
                  <a:lnTo>
                    <a:pt x="584" y="148"/>
                  </a:lnTo>
                  <a:lnTo>
                    <a:pt x="587" y="148"/>
                  </a:lnTo>
                  <a:lnTo>
                    <a:pt x="590" y="148"/>
                  </a:lnTo>
                  <a:lnTo>
                    <a:pt x="596" y="151"/>
                  </a:lnTo>
                  <a:lnTo>
                    <a:pt x="599" y="151"/>
                  </a:lnTo>
                  <a:lnTo>
                    <a:pt x="605" y="151"/>
                  </a:lnTo>
                  <a:lnTo>
                    <a:pt x="608" y="148"/>
                  </a:lnTo>
                  <a:lnTo>
                    <a:pt x="614" y="148"/>
                  </a:lnTo>
                  <a:lnTo>
                    <a:pt x="617" y="148"/>
                  </a:lnTo>
                  <a:lnTo>
                    <a:pt x="620" y="148"/>
                  </a:lnTo>
                  <a:lnTo>
                    <a:pt x="623" y="148"/>
                  </a:lnTo>
                  <a:lnTo>
                    <a:pt x="626" y="151"/>
                  </a:lnTo>
                  <a:lnTo>
                    <a:pt x="626" y="148"/>
                  </a:lnTo>
                  <a:lnTo>
                    <a:pt x="629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2"/>
                  </a:lnTo>
                  <a:lnTo>
                    <a:pt x="635" y="145"/>
                  </a:lnTo>
                  <a:lnTo>
                    <a:pt x="637" y="145"/>
                  </a:lnTo>
                  <a:lnTo>
                    <a:pt x="640" y="145"/>
                  </a:lnTo>
                  <a:lnTo>
                    <a:pt x="643" y="145"/>
                  </a:lnTo>
                  <a:lnTo>
                    <a:pt x="643" y="148"/>
                  </a:lnTo>
                  <a:lnTo>
                    <a:pt x="643" y="153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9" y="156"/>
                  </a:lnTo>
                  <a:lnTo>
                    <a:pt x="649" y="153"/>
                  </a:lnTo>
                  <a:lnTo>
                    <a:pt x="652" y="156"/>
                  </a:lnTo>
                  <a:lnTo>
                    <a:pt x="655" y="156"/>
                  </a:lnTo>
                  <a:lnTo>
                    <a:pt x="655" y="159"/>
                  </a:lnTo>
                  <a:lnTo>
                    <a:pt x="658" y="162"/>
                  </a:lnTo>
                  <a:lnTo>
                    <a:pt x="661" y="165"/>
                  </a:lnTo>
                  <a:lnTo>
                    <a:pt x="661" y="168"/>
                  </a:lnTo>
                  <a:lnTo>
                    <a:pt x="664" y="171"/>
                  </a:lnTo>
                  <a:lnTo>
                    <a:pt x="664" y="174"/>
                  </a:lnTo>
                  <a:lnTo>
                    <a:pt x="664" y="177"/>
                  </a:lnTo>
                  <a:lnTo>
                    <a:pt x="664" y="180"/>
                  </a:lnTo>
                  <a:lnTo>
                    <a:pt x="667" y="180"/>
                  </a:lnTo>
                  <a:lnTo>
                    <a:pt x="670" y="180"/>
                  </a:lnTo>
                  <a:lnTo>
                    <a:pt x="670" y="183"/>
                  </a:lnTo>
                  <a:lnTo>
                    <a:pt x="676" y="183"/>
                  </a:lnTo>
                  <a:lnTo>
                    <a:pt x="679" y="186"/>
                  </a:lnTo>
                  <a:lnTo>
                    <a:pt x="679" y="189"/>
                  </a:lnTo>
                  <a:lnTo>
                    <a:pt x="682" y="189"/>
                  </a:lnTo>
                  <a:lnTo>
                    <a:pt x="688" y="189"/>
                  </a:lnTo>
                  <a:lnTo>
                    <a:pt x="691" y="192"/>
                  </a:lnTo>
                  <a:lnTo>
                    <a:pt x="691" y="198"/>
                  </a:lnTo>
                  <a:lnTo>
                    <a:pt x="694" y="198"/>
                  </a:lnTo>
                  <a:lnTo>
                    <a:pt x="694" y="204"/>
                  </a:lnTo>
                  <a:lnTo>
                    <a:pt x="696" y="207"/>
                  </a:lnTo>
                  <a:lnTo>
                    <a:pt x="696" y="210"/>
                  </a:lnTo>
                  <a:lnTo>
                    <a:pt x="699" y="210"/>
                  </a:lnTo>
                  <a:lnTo>
                    <a:pt x="705" y="210"/>
                  </a:lnTo>
                  <a:lnTo>
                    <a:pt x="705" y="207"/>
                  </a:lnTo>
                  <a:lnTo>
                    <a:pt x="705" y="204"/>
                  </a:lnTo>
                  <a:lnTo>
                    <a:pt x="708" y="201"/>
                  </a:lnTo>
                  <a:lnTo>
                    <a:pt x="711" y="201"/>
                  </a:lnTo>
                  <a:lnTo>
                    <a:pt x="711" y="198"/>
                  </a:lnTo>
                  <a:lnTo>
                    <a:pt x="711" y="195"/>
                  </a:lnTo>
                  <a:lnTo>
                    <a:pt x="714" y="195"/>
                  </a:lnTo>
                  <a:lnTo>
                    <a:pt x="714" y="192"/>
                  </a:lnTo>
                  <a:lnTo>
                    <a:pt x="717" y="195"/>
                  </a:lnTo>
                  <a:lnTo>
                    <a:pt x="720" y="195"/>
                  </a:lnTo>
                  <a:lnTo>
                    <a:pt x="720" y="198"/>
                  </a:lnTo>
                  <a:lnTo>
                    <a:pt x="723" y="201"/>
                  </a:lnTo>
                  <a:lnTo>
                    <a:pt x="726" y="201"/>
                  </a:lnTo>
                  <a:lnTo>
                    <a:pt x="726" y="204"/>
                  </a:lnTo>
                  <a:lnTo>
                    <a:pt x="726" y="207"/>
                  </a:lnTo>
                  <a:lnTo>
                    <a:pt x="726" y="210"/>
                  </a:lnTo>
                  <a:lnTo>
                    <a:pt x="723" y="212"/>
                  </a:lnTo>
                  <a:lnTo>
                    <a:pt x="723" y="215"/>
                  </a:lnTo>
                  <a:lnTo>
                    <a:pt x="720" y="218"/>
                  </a:lnTo>
                  <a:lnTo>
                    <a:pt x="720" y="221"/>
                  </a:lnTo>
                  <a:lnTo>
                    <a:pt x="720" y="224"/>
                  </a:lnTo>
                  <a:lnTo>
                    <a:pt x="720" y="227"/>
                  </a:lnTo>
                  <a:lnTo>
                    <a:pt x="720" y="230"/>
                  </a:lnTo>
                  <a:lnTo>
                    <a:pt x="720" y="233"/>
                  </a:lnTo>
                  <a:lnTo>
                    <a:pt x="720" y="236"/>
                  </a:lnTo>
                  <a:lnTo>
                    <a:pt x="717" y="239"/>
                  </a:lnTo>
                  <a:lnTo>
                    <a:pt x="714" y="245"/>
                  </a:lnTo>
                  <a:lnTo>
                    <a:pt x="711" y="251"/>
                  </a:lnTo>
                  <a:lnTo>
                    <a:pt x="711" y="254"/>
                  </a:lnTo>
                  <a:lnTo>
                    <a:pt x="711" y="257"/>
                  </a:lnTo>
                  <a:lnTo>
                    <a:pt x="711" y="263"/>
                  </a:lnTo>
                  <a:lnTo>
                    <a:pt x="711" y="269"/>
                  </a:lnTo>
                  <a:lnTo>
                    <a:pt x="711" y="271"/>
                  </a:lnTo>
                  <a:lnTo>
                    <a:pt x="711" y="274"/>
                  </a:lnTo>
                  <a:lnTo>
                    <a:pt x="708" y="277"/>
                  </a:lnTo>
                  <a:lnTo>
                    <a:pt x="705" y="280"/>
                  </a:lnTo>
                  <a:lnTo>
                    <a:pt x="702" y="283"/>
                  </a:lnTo>
                  <a:lnTo>
                    <a:pt x="699" y="289"/>
                  </a:lnTo>
                  <a:lnTo>
                    <a:pt x="699" y="292"/>
                  </a:lnTo>
                  <a:lnTo>
                    <a:pt x="699" y="295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88" y="298"/>
                  </a:lnTo>
                  <a:lnTo>
                    <a:pt x="685" y="298"/>
                  </a:lnTo>
                  <a:lnTo>
                    <a:pt x="682" y="298"/>
                  </a:lnTo>
                  <a:lnTo>
                    <a:pt x="682" y="301"/>
                  </a:lnTo>
                  <a:lnTo>
                    <a:pt x="682" y="304"/>
                  </a:lnTo>
                  <a:lnTo>
                    <a:pt x="679" y="304"/>
                  </a:lnTo>
                  <a:lnTo>
                    <a:pt x="679" y="307"/>
                  </a:lnTo>
                  <a:lnTo>
                    <a:pt x="673" y="307"/>
                  </a:lnTo>
                  <a:lnTo>
                    <a:pt x="670" y="310"/>
                  </a:lnTo>
                  <a:lnTo>
                    <a:pt x="670" y="313"/>
                  </a:lnTo>
                  <a:lnTo>
                    <a:pt x="670" y="316"/>
                  </a:lnTo>
                  <a:lnTo>
                    <a:pt x="667" y="316"/>
                  </a:lnTo>
                  <a:lnTo>
                    <a:pt x="670" y="319"/>
                  </a:lnTo>
                  <a:lnTo>
                    <a:pt x="670" y="322"/>
                  </a:lnTo>
                  <a:lnTo>
                    <a:pt x="667" y="322"/>
                  </a:lnTo>
                  <a:lnTo>
                    <a:pt x="664" y="322"/>
                  </a:lnTo>
                  <a:lnTo>
                    <a:pt x="661" y="322"/>
                  </a:lnTo>
                  <a:lnTo>
                    <a:pt x="655" y="322"/>
                  </a:lnTo>
                  <a:lnTo>
                    <a:pt x="652" y="319"/>
                  </a:lnTo>
                  <a:lnTo>
                    <a:pt x="649" y="319"/>
                  </a:lnTo>
                  <a:lnTo>
                    <a:pt x="649" y="322"/>
                  </a:lnTo>
                  <a:lnTo>
                    <a:pt x="649" y="325"/>
                  </a:lnTo>
                  <a:lnTo>
                    <a:pt x="652" y="325"/>
                  </a:lnTo>
                  <a:lnTo>
                    <a:pt x="652" y="331"/>
                  </a:lnTo>
                  <a:lnTo>
                    <a:pt x="655" y="333"/>
                  </a:lnTo>
                  <a:lnTo>
                    <a:pt x="652" y="336"/>
                  </a:lnTo>
                  <a:lnTo>
                    <a:pt x="652" y="342"/>
                  </a:lnTo>
                  <a:lnTo>
                    <a:pt x="649" y="345"/>
                  </a:lnTo>
                  <a:lnTo>
                    <a:pt x="646" y="351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0" y="360"/>
                  </a:lnTo>
                  <a:lnTo>
                    <a:pt x="640" y="363"/>
                  </a:lnTo>
                  <a:lnTo>
                    <a:pt x="637" y="369"/>
                  </a:lnTo>
                  <a:lnTo>
                    <a:pt x="637" y="372"/>
                  </a:lnTo>
                  <a:lnTo>
                    <a:pt x="635" y="372"/>
                  </a:lnTo>
                  <a:lnTo>
                    <a:pt x="626" y="369"/>
                  </a:lnTo>
                  <a:lnTo>
                    <a:pt x="623" y="369"/>
                  </a:lnTo>
                  <a:lnTo>
                    <a:pt x="620" y="369"/>
                  </a:lnTo>
                  <a:lnTo>
                    <a:pt x="617" y="369"/>
                  </a:lnTo>
                  <a:lnTo>
                    <a:pt x="614" y="369"/>
                  </a:lnTo>
                  <a:lnTo>
                    <a:pt x="611" y="372"/>
                  </a:lnTo>
                  <a:lnTo>
                    <a:pt x="608" y="372"/>
                  </a:lnTo>
                  <a:lnTo>
                    <a:pt x="605" y="372"/>
                  </a:lnTo>
                  <a:lnTo>
                    <a:pt x="602" y="369"/>
                  </a:lnTo>
                  <a:lnTo>
                    <a:pt x="599" y="366"/>
                  </a:lnTo>
                  <a:lnTo>
                    <a:pt x="596" y="366"/>
                  </a:lnTo>
                  <a:lnTo>
                    <a:pt x="593" y="369"/>
                  </a:lnTo>
                  <a:lnTo>
                    <a:pt x="590" y="369"/>
                  </a:lnTo>
                  <a:lnTo>
                    <a:pt x="587" y="372"/>
                  </a:lnTo>
                  <a:lnTo>
                    <a:pt x="587" y="375"/>
                  </a:lnTo>
                  <a:lnTo>
                    <a:pt x="590" y="375"/>
                  </a:lnTo>
                  <a:lnTo>
                    <a:pt x="596" y="387"/>
                  </a:lnTo>
                  <a:lnTo>
                    <a:pt x="596" y="390"/>
                  </a:lnTo>
                  <a:lnTo>
                    <a:pt x="596" y="392"/>
                  </a:lnTo>
                  <a:lnTo>
                    <a:pt x="599" y="392"/>
                  </a:lnTo>
                  <a:lnTo>
                    <a:pt x="599" y="395"/>
                  </a:lnTo>
                  <a:lnTo>
                    <a:pt x="599" y="398"/>
                  </a:lnTo>
                  <a:lnTo>
                    <a:pt x="599" y="401"/>
                  </a:lnTo>
                  <a:lnTo>
                    <a:pt x="602" y="401"/>
                  </a:lnTo>
                  <a:lnTo>
                    <a:pt x="602" y="404"/>
                  </a:lnTo>
                  <a:lnTo>
                    <a:pt x="605" y="407"/>
                  </a:lnTo>
                  <a:lnTo>
                    <a:pt x="605" y="410"/>
                  </a:lnTo>
                  <a:lnTo>
                    <a:pt x="605" y="413"/>
                  </a:lnTo>
                  <a:lnTo>
                    <a:pt x="602" y="413"/>
                  </a:lnTo>
                  <a:lnTo>
                    <a:pt x="599" y="413"/>
                  </a:lnTo>
                  <a:lnTo>
                    <a:pt x="593" y="416"/>
                  </a:lnTo>
                  <a:lnTo>
                    <a:pt x="590" y="416"/>
                  </a:lnTo>
                  <a:lnTo>
                    <a:pt x="587" y="416"/>
                  </a:lnTo>
                  <a:lnTo>
                    <a:pt x="587" y="419"/>
                  </a:lnTo>
                  <a:lnTo>
                    <a:pt x="590" y="419"/>
                  </a:lnTo>
                  <a:lnTo>
                    <a:pt x="590" y="422"/>
                  </a:lnTo>
                  <a:lnTo>
                    <a:pt x="593" y="425"/>
                  </a:lnTo>
                  <a:lnTo>
                    <a:pt x="593" y="428"/>
                  </a:lnTo>
                  <a:lnTo>
                    <a:pt x="590" y="428"/>
                  </a:lnTo>
                  <a:lnTo>
                    <a:pt x="590" y="431"/>
                  </a:lnTo>
                  <a:lnTo>
                    <a:pt x="590" y="437"/>
                  </a:lnTo>
                  <a:lnTo>
                    <a:pt x="590" y="440"/>
                  </a:lnTo>
                  <a:lnTo>
                    <a:pt x="593" y="443"/>
                  </a:lnTo>
                  <a:lnTo>
                    <a:pt x="596" y="446"/>
                  </a:lnTo>
                  <a:lnTo>
                    <a:pt x="599" y="446"/>
                  </a:lnTo>
                  <a:lnTo>
                    <a:pt x="599" y="449"/>
                  </a:lnTo>
                  <a:lnTo>
                    <a:pt x="602" y="449"/>
                  </a:lnTo>
                  <a:lnTo>
                    <a:pt x="602" y="451"/>
                  </a:lnTo>
                  <a:lnTo>
                    <a:pt x="605" y="451"/>
                  </a:lnTo>
                  <a:lnTo>
                    <a:pt x="602" y="454"/>
                  </a:lnTo>
                  <a:lnTo>
                    <a:pt x="602" y="457"/>
                  </a:lnTo>
                  <a:lnTo>
                    <a:pt x="605" y="457"/>
                  </a:lnTo>
                  <a:lnTo>
                    <a:pt x="608" y="460"/>
                  </a:lnTo>
                  <a:lnTo>
                    <a:pt x="611" y="463"/>
                  </a:lnTo>
                  <a:lnTo>
                    <a:pt x="614" y="463"/>
                  </a:lnTo>
                  <a:lnTo>
                    <a:pt x="617" y="463"/>
                  </a:lnTo>
                  <a:lnTo>
                    <a:pt x="626" y="463"/>
                  </a:lnTo>
                  <a:lnTo>
                    <a:pt x="632" y="463"/>
                  </a:lnTo>
                  <a:lnTo>
                    <a:pt x="635" y="463"/>
                  </a:lnTo>
                  <a:lnTo>
                    <a:pt x="637" y="463"/>
                  </a:lnTo>
                  <a:lnTo>
                    <a:pt x="637" y="466"/>
                  </a:lnTo>
                  <a:lnTo>
                    <a:pt x="637" y="469"/>
                  </a:lnTo>
                  <a:lnTo>
                    <a:pt x="635" y="472"/>
                  </a:lnTo>
                  <a:lnTo>
                    <a:pt x="632" y="478"/>
                  </a:lnTo>
                  <a:lnTo>
                    <a:pt x="632" y="481"/>
                  </a:lnTo>
                  <a:lnTo>
                    <a:pt x="632" y="484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90"/>
                  </a:lnTo>
                  <a:lnTo>
                    <a:pt x="635" y="493"/>
                  </a:lnTo>
                  <a:lnTo>
                    <a:pt x="637" y="496"/>
                  </a:lnTo>
                  <a:lnTo>
                    <a:pt x="637" y="499"/>
                  </a:lnTo>
                  <a:lnTo>
                    <a:pt x="640" y="499"/>
                  </a:lnTo>
                  <a:lnTo>
                    <a:pt x="640" y="508"/>
                  </a:lnTo>
                  <a:lnTo>
                    <a:pt x="643" y="511"/>
                  </a:lnTo>
                  <a:lnTo>
                    <a:pt x="646" y="511"/>
                  </a:lnTo>
                  <a:lnTo>
                    <a:pt x="646" y="513"/>
                  </a:lnTo>
                  <a:lnTo>
                    <a:pt x="649" y="513"/>
                  </a:lnTo>
                  <a:lnTo>
                    <a:pt x="649" y="516"/>
                  </a:lnTo>
                  <a:lnTo>
                    <a:pt x="649" y="519"/>
                  </a:lnTo>
                  <a:lnTo>
                    <a:pt x="649" y="522"/>
                  </a:lnTo>
                  <a:lnTo>
                    <a:pt x="649" y="528"/>
                  </a:lnTo>
                  <a:lnTo>
                    <a:pt x="649" y="531"/>
                  </a:lnTo>
                  <a:lnTo>
                    <a:pt x="646" y="531"/>
                  </a:lnTo>
                  <a:lnTo>
                    <a:pt x="643" y="531"/>
                  </a:lnTo>
                  <a:lnTo>
                    <a:pt x="640" y="531"/>
                  </a:lnTo>
                  <a:lnTo>
                    <a:pt x="637" y="531"/>
                  </a:lnTo>
                  <a:lnTo>
                    <a:pt x="637" y="534"/>
                  </a:lnTo>
                  <a:lnTo>
                    <a:pt x="635" y="537"/>
                  </a:lnTo>
                  <a:lnTo>
                    <a:pt x="632" y="537"/>
                  </a:lnTo>
                  <a:lnTo>
                    <a:pt x="629" y="540"/>
                  </a:lnTo>
                  <a:lnTo>
                    <a:pt x="626" y="543"/>
                  </a:lnTo>
                  <a:lnTo>
                    <a:pt x="623" y="543"/>
                  </a:lnTo>
                  <a:lnTo>
                    <a:pt x="623" y="540"/>
                  </a:lnTo>
                  <a:lnTo>
                    <a:pt x="620" y="540"/>
                  </a:lnTo>
                  <a:lnTo>
                    <a:pt x="617" y="540"/>
                  </a:lnTo>
                  <a:lnTo>
                    <a:pt x="614" y="540"/>
                  </a:lnTo>
                  <a:lnTo>
                    <a:pt x="611" y="543"/>
                  </a:lnTo>
                  <a:lnTo>
                    <a:pt x="608" y="546"/>
                  </a:lnTo>
                  <a:lnTo>
                    <a:pt x="608" y="549"/>
                  </a:lnTo>
                  <a:lnTo>
                    <a:pt x="608" y="552"/>
                  </a:lnTo>
                  <a:lnTo>
                    <a:pt x="605" y="555"/>
                  </a:lnTo>
                  <a:lnTo>
                    <a:pt x="605" y="558"/>
                  </a:lnTo>
                  <a:lnTo>
                    <a:pt x="602" y="555"/>
                  </a:lnTo>
                  <a:lnTo>
                    <a:pt x="599" y="555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61"/>
                  </a:lnTo>
                  <a:lnTo>
                    <a:pt x="587" y="558"/>
                  </a:lnTo>
                  <a:lnTo>
                    <a:pt x="584" y="555"/>
                  </a:lnTo>
                  <a:lnTo>
                    <a:pt x="584" y="552"/>
                  </a:lnTo>
                  <a:lnTo>
                    <a:pt x="581" y="552"/>
                  </a:lnTo>
                  <a:lnTo>
                    <a:pt x="578" y="549"/>
                  </a:lnTo>
                  <a:lnTo>
                    <a:pt x="575" y="546"/>
                  </a:lnTo>
                  <a:lnTo>
                    <a:pt x="573" y="543"/>
                  </a:lnTo>
                  <a:lnTo>
                    <a:pt x="573" y="540"/>
                  </a:lnTo>
                  <a:lnTo>
                    <a:pt x="573" y="537"/>
                  </a:lnTo>
                  <a:lnTo>
                    <a:pt x="573" y="534"/>
                  </a:lnTo>
                  <a:lnTo>
                    <a:pt x="573" y="531"/>
                  </a:lnTo>
                  <a:lnTo>
                    <a:pt x="575" y="531"/>
                  </a:lnTo>
                  <a:lnTo>
                    <a:pt x="573" y="525"/>
                  </a:lnTo>
                  <a:lnTo>
                    <a:pt x="573" y="522"/>
                  </a:lnTo>
                  <a:lnTo>
                    <a:pt x="573" y="519"/>
                  </a:lnTo>
                  <a:lnTo>
                    <a:pt x="570" y="519"/>
                  </a:lnTo>
                  <a:lnTo>
                    <a:pt x="564" y="522"/>
                  </a:lnTo>
                  <a:lnTo>
                    <a:pt x="561" y="525"/>
                  </a:lnTo>
                  <a:lnTo>
                    <a:pt x="561" y="528"/>
                  </a:lnTo>
                  <a:lnTo>
                    <a:pt x="558" y="528"/>
                  </a:lnTo>
                  <a:lnTo>
                    <a:pt x="555" y="528"/>
                  </a:lnTo>
                  <a:lnTo>
                    <a:pt x="552" y="528"/>
                  </a:lnTo>
                  <a:lnTo>
                    <a:pt x="549" y="528"/>
                  </a:lnTo>
                  <a:lnTo>
                    <a:pt x="549" y="531"/>
                  </a:lnTo>
                  <a:lnTo>
                    <a:pt x="546" y="531"/>
                  </a:lnTo>
                  <a:lnTo>
                    <a:pt x="543" y="531"/>
                  </a:lnTo>
                  <a:lnTo>
                    <a:pt x="540" y="534"/>
                  </a:lnTo>
                  <a:lnTo>
                    <a:pt x="537" y="534"/>
                  </a:lnTo>
                  <a:lnTo>
                    <a:pt x="537" y="537"/>
                  </a:lnTo>
                  <a:lnTo>
                    <a:pt x="540" y="540"/>
                  </a:lnTo>
                  <a:lnTo>
                    <a:pt x="534" y="543"/>
                  </a:lnTo>
                  <a:lnTo>
                    <a:pt x="534" y="546"/>
                  </a:lnTo>
                  <a:lnTo>
                    <a:pt x="528" y="540"/>
                  </a:lnTo>
                  <a:lnTo>
                    <a:pt x="528" y="537"/>
                  </a:lnTo>
                  <a:lnTo>
                    <a:pt x="534" y="531"/>
                  </a:lnTo>
                  <a:lnTo>
                    <a:pt x="540" y="525"/>
                  </a:lnTo>
                  <a:lnTo>
                    <a:pt x="540" y="522"/>
                  </a:lnTo>
                  <a:lnTo>
                    <a:pt x="537" y="516"/>
                  </a:lnTo>
                  <a:lnTo>
                    <a:pt x="537" y="511"/>
                  </a:lnTo>
                  <a:lnTo>
                    <a:pt x="534" y="511"/>
                  </a:lnTo>
                  <a:lnTo>
                    <a:pt x="531" y="513"/>
                  </a:lnTo>
                  <a:lnTo>
                    <a:pt x="525" y="519"/>
                  </a:lnTo>
                  <a:lnTo>
                    <a:pt x="516" y="519"/>
                  </a:lnTo>
                  <a:lnTo>
                    <a:pt x="511" y="522"/>
                  </a:lnTo>
                  <a:lnTo>
                    <a:pt x="502" y="522"/>
                  </a:lnTo>
                  <a:lnTo>
                    <a:pt x="496" y="519"/>
                  </a:lnTo>
                  <a:lnTo>
                    <a:pt x="493" y="516"/>
                  </a:lnTo>
                  <a:lnTo>
                    <a:pt x="493" y="511"/>
                  </a:lnTo>
                  <a:lnTo>
                    <a:pt x="493" y="508"/>
                  </a:lnTo>
                  <a:lnTo>
                    <a:pt x="487" y="502"/>
                  </a:lnTo>
                  <a:lnTo>
                    <a:pt x="484" y="499"/>
                  </a:lnTo>
                  <a:lnTo>
                    <a:pt x="481" y="496"/>
                  </a:lnTo>
                  <a:lnTo>
                    <a:pt x="484" y="493"/>
                  </a:lnTo>
                  <a:lnTo>
                    <a:pt x="481" y="490"/>
                  </a:lnTo>
                  <a:lnTo>
                    <a:pt x="475" y="484"/>
                  </a:lnTo>
                  <a:lnTo>
                    <a:pt x="472" y="484"/>
                  </a:lnTo>
                  <a:lnTo>
                    <a:pt x="463" y="487"/>
                  </a:lnTo>
                  <a:lnTo>
                    <a:pt x="460" y="490"/>
                  </a:lnTo>
                  <a:lnTo>
                    <a:pt x="455" y="493"/>
                  </a:lnTo>
                  <a:lnTo>
                    <a:pt x="443" y="496"/>
                  </a:lnTo>
                  <a:lnTo>
                    <a:pt x="440" y="499"/>
                  </a:lnTo>
                  <a:lnTo>
                    <a:pt x="437" y="499"/>
                  </a:lnTo>
                  <a:lnTo>
                    <a:pt x="431" y="496"/>
                  </a:lnTo>
                  <a:lnTo>
                    <a:pt x="425" y="490"/>
                  </a:lnTo>
                  <a:lnTo>
                    <a:pt x="422" y="487"/>
                  </a:lnTo>
                  <a:lnTo>
                    <a:pt x="419" y="487"/>
                  </a:lnTo>
                  <a:lnTo>
                    <a:pt x="416" y="481"/>
                  </a:lnTo>
                  <a:lnTo>
                    <a:pt x="413" y="481"/>
                  </a:lnTo>
                  <a:lnTo>
                    <a:pt x="407" y="481"/>
                  </a:lnTo>
                  <a:lnTo>
                    <a:pt x="398" y="475"/>
                  </a:lnTo>
                  <a:lnTo>
                    <a:pt x="393" y="466"/>
                  </a:lnTo>
                  <a:lnTo>
                    <a:pt x="390" y="460"/>
                  </a:lnTo>
                  <a:lnTo>
                    <a:pt x="390" y="454"/>
                  </a:lnTo>
                  <a:lnTo>
                    <a:pt x="393" y="449"/>
                  </a:lnTo>
                  <a:lnTo>
                    <a:pt x="387" y="449"/>
                  </a:lnTo>
                  <a:lnTo>
                    <a:pt x="384" y="454"/>
                  </a:lnTo>
                  <a:lnTo>
                    <a:pt x="381" y="457"/>
                  </a:lnTo>
                  <a:lnTo>
                    <a:pt x="375" y="457"/>
                  </a:lnTo>
                  <a:lnTo>
                    <a:pt x="369" y="454"/>
                  </a:lnTo>
                  <a:lnTo>
                    <a:pt x="357" y="454"/>
                  </a:lnTo>
                  <a:lnTo>
                    <a:pt x="348" y="454"/>
                  </a:lnTo>
                  <a:lnTo>
                    <a:pt x="339" y="460"/>
                  </a:lnTo>
                  <a:lnTo>
                    <a:pt x="336" y="466"/>
                  </a:lnTo>
                  <a:lnTo>
                    <a:pt x="336" y="469"/>
                  </a:lnTo>
                  <a:lnTo>
                    <a:pt x="331" y="472"/>
                  </a:lnTo>
                  <a:lnTo>
                    <a:pt x="325" y="475"/>
                  </a:lnTo>
                  <a:lnTo>
                    <a:pt x="319" y="478"/>
                  </a:lnTo>
                  <a:lnTo>
                    <a:pt x="313" y="484"/>
                  </a:lnTo>
                  <a:lnTo>
                    <a:pt x="310" y="487"/>
                  </a:lnTo>
                  <a:lnTo>
                    <a:pt x="304" y="487"/>
                  </a:lnTo>
                  <a:lnTo>
                    <a:pt x="301" y="484"/>
                  </a:lnTo>
                  <a:lnTo>
                    <a:pt x="295" y="484"/>
                  </a:lnTo>
                  <a:lnTo>
                    <a:pt x="292" y="484"/>
                  </a:lnTo>
                  <a:lnTo>
                    <a:pt x="289" y="487"/>
                  </a:lnTo>
                  <a:lnTo>
                    <a:pt x="289" y="490"/>
                  </a:lnTo>
                  <a:lnTo>
                    <a:pt x="295" y="496"/>
                  </a:lnTo>
                  <a:lnTo>
                    <a:pt x="298" y="499"/>
                  </a:lnTo>
                  <a:lnTo>
                    <a:pt x="298" y="505"/>
                  </a:lnTo>
                  <a:lnTo>
                    <a:pt x="298" y="511"/>
                  </a:lnTo>
                  <a:lnTo>
                    <a:pt x="301" y="513"/>
                  </a:lnTo>
                  <a:lnTo>
                    <a:pt x="298" y="519"/>
                  </a:lnTo>
                  <a:lnTo>
                    <a:pt x="295" y="519"/>
                  </a:lnTo>
                  <a:lnTo>
                    <a:pt x="295" y="522"/>
                  </a:lnTo>
                  <a:lnTo>
                    <a:pt x="292" y="522"/>
                  </a:lnTo>
                  <a:lnTo>
                    <a:pt x="292" y="525"/>
                  </a:lnTo>
                  <a:lnTo>
                    <a:pt x="289" y="528"/>
                  </a:lnTo>
                  <a:lnTo>
                    <a:pt x="286" y="531"/>
                  </a:lnTo>
                  <a:lnTo>
                    <a:pt x="283" y="534"/>
                  </a:lnTo>
                  <a:lnTo>
                    <a:pt x="280" y="537"/>
                  </a:lnTo>
                  <a:lnTo>
                    <a:pt x="277" y="537"/>
                  </a:lnTo>
                  <a:lnTo>
                    <a:pt x="277" y="540"/>
                  </a:lnTo>
                  <a:lnTo>
                    <a:pt x="274" y="540"/>
                  </a:lnTo>
                  <a:lnTo>
                    <a:pt x="274" y="543"/>
                  </a:lnTo>
                  <a:lnTo>
                    <a:pt x="272" y="543"/>
                  </a:lnTo>
                  <a:lnTo>
                    <a:pt x="269" y="543"/>
                  </a:lnTo>
                  <a:lnTo>
                    <a:pt x="266" y="543"/>
                  </a:lnTo>
                  <a:lnTo>
                    <a:pt x="263" y="546"/>
                  </a:lnTo>
                  <a:lnTo>
                    <a:pt x="260" y="549"/>
                  </a:lnTo>
                  <a:lnTo>
                    <a:pt x="257" y="549"/>
                  </a:lnTo>
                  <a:lnTo>
                    <a:pt x="257" y="552"/>
                  </a:lnTo>
                  <a:lnTo>
                    <a:pt x="254" y="552"/>
                  </a:lnTo>
                  <a:lnTo>
                    <a:pt x="254" y="549"/>
                  </a:lnTo>
                  <a:lnTo>
                    <a:pt x="251" y="549"/>
                  </a:lnTo>
                  <a:lnTo>
                    <a:pt x="248" y="549"/>
                  </a:lnTo>
                  <a:lnTo>
                    <a:pt x="242" y="549"/>
                  </a:lnTo>
                  <a:lnTo>
                    <a:pt x="239" y="5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6" name="Freeform 11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257605" y="1364171"/>
              <a:ext cx="50725" cy="59809"/>
            </a:xfrm>
            <a:custGeom>
              <a:avLst/>
              <a:gdLst>
                <a:gd name="T0" fmla="*/ 0 w 307"/>
                <a:gd name="T1" fmla="*/ 272 h 337"/>
                <a:gd name="T2" fmla="*/ 6 w 307"/>
                <a:gd name="T3" fmla="*/ 236 h 337"/>
                <a:gd name="T4" fmla="*/ 12 w 307"/>
                <a:gd name="T5" fmla="*/ 224 h 337"/>
                <a:gd name="T6" fmla="*/ 17 w 307"/>
                <a:gd name="T7" fmla="*/ 210 h 337"/>
                <a:gd name="T8" fmla="*/ 32 w 307"/>
                <a:gd name="T9" fmla="*/ 204 h 337"/>
                <a:gd name="T10" fmla="*/ 38 w 307"/>
                <a:gd name="T11" fmla="*/ 192 h 337"/>
                <a:gd name="T12" fmla="*/ 50 w 307"/>
                <a:gd name="T13" fmla="*/ 186 h 337"/>
                <a:gd name="T14" fmla="*/ 56 w 307"/>
                <a:gd name="T15" fmla="*/ 174 h 337"/>
                <a:gd name="T16" fmla="*/ 76 w 307"/>
                <a:gd name="T17" fmla="*/ 168 h 337"/>
                <a:gd name="T18" fmla="*/ 85 w 307"/>
                <a:gd name="T19" fmla="*/ 157 h 337"/>
                <a:gd name="T20" fmla="*/ 79 w 307"/>
                <a:gd name="T21" fmla="*/ 157 h 337"/>
                <a:gd name="T22" fmla="*/ 79 w 307"/>
                <a:gd name="T23" fmla="*/ 127 h 337"/>
                <a:gd name="T24" fmla="*/ 88 w 307"/>
                <a:gd name="T25" fmla="*/ 104 h 337"/>
                <a:gd name="T26" fmla="*/ 76 w 307"/>
                <a:gd name="T27" fmla="*/ 80 h 337"/>
                <a:gd name="T28" fmla="*/ 82 w 307"/>
                <a:gd name="T29" fmla="*/ 71 h 337"/>
                <a:gd name="T30" fmla="*/ 97 w 307"/>
                <a:gd name="T31" fmla="*/ 65 h 337"/>
                <a:gd name="T32" fmla="*/ 106 w 307"/>
                <a:gd name="T33" fmla="*/ 56 h 337"/>
                <a:gd name="T34" fmla="*/ 118 w 307"/>
                <a:gd name="T35" fmla="*/ 53 h 337"/>
                <a:gd name="T36" fmla="*/ 127 w 307"/>
                <a:gd name="T37" fmla="*/ 47 h 337"/>
                <a:gd name="T38" fmla="*/ 141 w 307"/>
                <a:gd name="T39" fmla="*/ 47 h 337"/>
                <a:gd name="T40" fmla="*/ 153 w 307"/>
                <a:gd name="T41" fmla="*/ 42 h 337"/>
                <a:gd name="T42" fmla="*/ 159 w 307"/>
                <a:gd name="T43" fmla="*/ 24 h 337"/>
                <a:gd name="T44" fmla="*/ 174 w 307"/>
                <a:gd name="T45" fmla="*/ 24 h 337"/>
                <a:gd name="T46" fmla="*/ 189 w 307"/>
                <a:gd name="T47" fmla="*/ 15 h 337"/>
                <a:gd name="T48" fmla="*/ 200 w 307"/>
                <a:gd name="T49" fmla="*/ 9 h 337"/>
                <a:gd name="T50" fmla="*/ 218 w 307"/>
                <a:gd name="T51" fmla="*/ 12 h 337"/>
                <a:gd name="T52" fmla="*/ 192 w 307"/>
                <a:gd name="T53" fmla="*/ 36 h 337"/>
                <a:gd name="T54" fmla="*/ 194 w 307"/>
                <a:gd name="T55" fmla="*/ 50 h 337"/>
                <a:gd name="T56" fmla="*/ 206 w 307"/>
                <a:gd name="T57" fmla="*/ 62 h 337"/>
                <a:gd name="T58" fmla="*/ 224 w 307"/>
                <a:gd name="T59" fmla="*/ 98 h 337"/>
                <a:gd name="T60" fmla="*/ 233 w 307"/>
                <a:gd name="T61" fmla="*/ 136 h 337"/>
                <a:gd name="T62" fmla="*/ 254 w 307"/>
                <a:gd name="T63" fmla="*/ 133 h 337"/>
                <a:gd name="T64" fmla="*/ 268 w 307"/>
                <a:gd name="T65" fmla="*/ 145 h 337"/>
                <a:gd name="T66" fmla="*/ 283 w 307"/>
                <a:gd name="T67" fmla="*/ 165 h 337"/>
                <a:gd name="T68" fmla="*/ 292 w 307"/>
                <a:gd name="T69" fmla="*/ 183 h 337"/>
                <a:gd name="T70" fmla="*/ 301 w 307"/>
                <a:gd name="T71" fmla="*/ 207 h 337"/>
                <a:gd name="T72" fmla="*/ 295 w 307"/>
                <a:gd name="T73" fmla="*/ 216 h 337"/>
                <a:gd name="T74" fmla="*/ 307 w 307"/>
                <a:gd name="T75" fmla="*/ 233 h 337"/>
                <a:gd name="T76" fmla="*/ 289 w 307"/>
                <a:gd name="T77" fmla="*/ 251 h 337"/>
                <a:gd name="T78" fmla="*/ 271 w 307"/>
                <a:gd name="T79" fmla="*/ 263 h 337"/>
                <a:gd name="T80" fmla="*/ 262 w 307"/>
                <a:gd name="T81" fmla="*/ 284 h 337"/>
                <a:gd name="T82" fmla="*/ 248 w 307"/>
                <a:gd name="T83" fmla="*/ 275 h 337"/>
                <a:gd name="T84" fmla="*/ 233 w 307"/>
                <a:gd name="T85" fmla="*/ 275 h 337"/>
                <a:gd name="T86" fmla="*/ 230 w 307"/>
                <a:gd name="T87" fmla="*/ 295 h 337"/>
                <a:gd name="T88" fmla="*/ 227 w 307"/>
                <a:gd name="T89" fmla="*/ 310 h 337"/>
                <a:gd name="T90" fmla="*/ 203 w 307"/>
                <a:gd name="T91" fmla="*/ 322 h 337"/>
                <a:gd name="T92" fmla="*/ 165 w 307"/>
                <a:gd name="T93" fmla="*/ 313 h 337"/>
                <a:gd name="T94" fmla="*/ 150 w 307"/>
                <a:gd name="T95" fmla="*/ 313 h 337"/>
                <a:gd name="T96" fmla="*/ 138 w 307"/>
                <a:gd name="T97" fmla="*/ 337 h 337"/>
                <a:gd name="T98" fmla="*/ 127 w 307"/>
                <a:gd name="T99" fmla="*/ 325 h 337"/>
                <a:gd name="T100" fmla="*/ 133 w 307"/>
                <a:gd name="T101" fmla="*/ 301 h 337"/>
                <a:gd name="T102" fmla="*/ 121 w 307"/>
                <a:gd name="T103" fmla="*/ 298 h 337"/>
                <a:gd name="T104" fmla="*/ 109 w 307"/>
                <a:gd name="T105" fmla="*/ 295 h 337"/>
                <a:gd name="T106" fmla="*/ 82 w 307"/>
                <a:gd name="T107" fmla="*/ 284 h 3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7"/>
                <a:gd name="T163" fmla="*/ 0 h 337"/>
                <a:gd name="T164" fmla="*/ 307 w 307"/>
                <a:gd name="T165" fmla="*/ 337 h 3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7" h="337">
                  <a:moveTo>
                    <a:pt x="65" y="286"/>
                  </a:moveTo>
                  <a:lnTo>
                    <a:pt x="62" y="286"/>
                  </a:lnTo>
                  <a:lnTo>
                    <a:pt x="32" y="281"/>
                  </a:lnTo>
                  <a:lnTo>
                    <a:pt x="6" y="278"/>
                  </a:lnTo>
                  <a:lnTo>
                    <a:pt x="0" y="275"/>
                  </a:lnTo>
                  <a:lnTo>
                    <a:pt x="0" y="272"/>
                  </a:lnTo>
                  <a:lnTo>
                    <a:pt x="6" y="266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2" y="248"/>
                  </a:lnTo>
                  <a:lnTo>
                    <a:pt x="9" y="242"/>
                  </a:lnTo>
                  <a:lnTo>
                    <a:pt x="6" y="236"/>
                  </a:lnTo>
                  <a:lnTo>
                    <a:pt x="3" y="233"/>
                  </a:lnTo>
                  <a:lnTo>
                    <a:pt x="3" y="230"/>
                  </a:lnTo>
                  <a:lnTo>
                    <a:pt x="6" y="230"/>
                  </a:lnTo>
                  <a:lnTo>
                    <a:pt x="6" y="227"/>
                  </a:lnTo>
                  <a:lnTo>
                    <a:pt x="9" y="224"/>
                  </a:lnTo>
                  <a:lnTo>
                    <a:pt x="12" y="224"/>
                  </a:lnTo>
                  <a:lnTo>
                    <a:pt x="14" y="224"/>
                  </a:lnTo>
                  <a:lnTo>
                    <a:pt x="17" y="222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3" y="207"/>
                  </a:lnTo>
                  <a:lnTo>
                    <a:pt x="23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1"/>
                  </a:lnTo>
                  <a:lnTo>
                    <a:pt x="32" y="198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8" y="195"/>
                  </a:lnTo>
                  <a:lnTo>
                    <a:pt x="38" y="192"/>
                  </a:lnTo>
                  <a:lnTo>
                    <a:pt x="41" y="192"/>
                  </a:lnTo>
                  <a:lnTo>
                    <a:pt x="44" y="192"/>
                  </a:lnTo>
                  <a:lnTo>
                    <a:pt x="44" y="189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50" y="186"/>
                  </a:lnTo>
                  <a:lnTo>
                    <a:pt x="50" y="183"/>
                  </a:lnTo>
                  <a:lnTo>
                    <a:pt x="50" y="180"/>
                  </a:lnTo>
                  <a:lnTo>
                    <a:pt x="50" y="177"/>
                  </a:lnTo>
                  <a:lnTo>
                    <a:pt x="53" y="177"/>
                  </a:lnTo>
                  <a:lnTo>
                    <a:pt x="53" y="174"/>
                  </a:lnTo>
                  <a:lnTo>
                    <a:pt x="56" y="174"/>
                  </a:lnTo>
                  <a:lnTo>
                    <a:pt x="59" y="174"/>
                  </a:lnTo>
                  <a:lnTo>
                    <a:pt x="62" y="171"/>
                  </a:lnTo>
                  <a:lnTo>
                    <a:pt x="68" y="171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6" y="168"/>
                  </a:lnTo>
                  <a:lnTo>
                    <a:pt x="76" y="165"/>
                  </a:lnTo>
                  <a:lnTo>
                    <a:pt x="76" y="163"/>
                  </a:lnTo>
                  <a:lnTo>
                    <a:pt x="79" y="163"/>
                  </a:lnTo>
                  <a:lnTo>
                    <a:pt x="82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8" y="157"/>
                  </a:lnTo>
                  <a:lnTo>
                    <a:pt x="91" y="157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3" y="151"/>
                  </a:lnTo>
                  <a:lnTo>
                    <a:pt x="73" y="145"/>
                  </a:lnTo>
                  <a:lnTo>
                    <a:pt x="76" y="139"/>
                  </a:lnTo>
                  <a:lnTo>
                    <a:pt x="76" y="133"/>
                  </a:lnTo>
                  <a:lnTo>
                    <a:pt x="79" y="127"/>
                  </a:lnTo>
                  <a:lnTo>
                    <a:pt x="82" y="121"/>
                  </a:lnTo>
                  <a:lnTo>
                    <a:pt x="88" y="115"/>
                  </a:lnTo>
                  <a:lnTo>
                    <a:pt x="88" y="112"/>
                  </a:lnTo>
                  <a:lnTo>
                    <a:pt x="82" y="109"/>
                  </a:lnTo>
                  <a:lnTo>
                    <a:pt x="82" y="106"/>
                  </a:lnTo>
                  <a:lnTo>
                    <a:pt x="88" y="104"/>
                  </a:lnTo>
                  <a:lnTo>
                    <a:pt x="85" y="101"/>
                  </a:lnTo>
                  <a:lnTo>
                    <a:pt x="82" y="98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6" y="83"/>
                  </a:lnTo>
                  <a:lnTo>
                    <a:pt x="76" y="80"/>
                  </a:lnTo>
                  <a:lnTo>
                    <a:pt x="79" y="80"/>
                  </a:lnTo>
                  <a:lnTo>
                    <a:pt x="79" y="77"/>
                  </a:lnTo>
                  <a:lnTo>
                    <a:pt x="76" y="77"/>
                  </a:lnTo>
                  <a:lnTo>
                    <a:pt x="76" y="74"/>
                  </a:lnTo>
                  <a:lnTo>
                    <a:pt x="79" y="74"/>
                  </a:lnTo>
                  <a:lnTo>
                    <a:pt x="82" y="71"/>
                  </a:lnTo>
                  <a:lnTo>
                    <a:pt x="85" y="68"/>
                  </a:lnTo>
                  <a:lnTo>
                    <a:pt x="88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100" y="62"/>
                  </a:lnTo>
                  <a:lnTo>
                    <a:pt x="100" y="65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3"/>
                  </a:lnTo>
                  <a:lnTo>
                    <a:pt x="109" y="53"/>
                  </a:lnTo>
                  <a:lnTo>
                    <a:pt x="112" y="53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7" y="50"/>
                  </a:lnTo>
                  <a:lnTo>
                    <a:pt x="127" y="47"/>
                  </a:lnTo>
                  <a:lnTo>
                    <a:pt x="130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4"/>
                  </a:lnTo>
                  <a:lnTo>
                    <a:pt x="138" y="47"/>
                  </a:lnTo>
                  <a:lnTo>
                    <a:pt x="141" y="47"/>
                  </a:lnTo>
                  <a:lnTo>
                    <a:pt x="141" y="44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7" y="42"/>
                  </a:lnTo>
                  <a:lnTo>
                    <a:pt x="150" y="39"/>
                  </a:lnTo>
                  <a:lnTo>
                    <a:pt x="153" y="42"/>
                  </a:lnTo>
                  <a:lnTo>
                    <a:pt x="156" y="42"/>
                  </a:lnTo>
                  <a:lnTo>
                    <a:pt x="156" y="39"/>
                  </a:lnTo>
                  <a:lnTo>
                    <a:pt x="159" y="36"/>
                  </a:lnTo>
                  <a:lnTo>
                    <a:pt x="162" y="33"/>
                  </a:lnTo>
                  <a:lnTo>
                    <a:pt x="162" y="27"/>
                  </a:lnTo>
                  <a:lnTo>
                    <a:pt x="159" y="24"/>
                  </a:lnTo>
                  <a:lnTo>
                    <a:pt x="159" y="21"/>
                  </a:lnTo>
                  <a:lnTo>
                    <a:pt x="162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3" y="18"/>
                  </a:lnTo>
                  <a:lnTo>
                    <a:pt x="186" y="15"/>
                  </a:lnTo>
                  <a:lnTo>
                    <a:pt x="189" y="15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2"/>
                  </a:lnTo>
                  <a:lnTo>
                    <a:pt x="197" y="12"/>
                  </a:lnTo>
                  <a:lnTo>
                    <a:pt x="197" y="9"/>
                  </a:lnTo>
                  <a:lnTo>
                    <a:pt x="200" y="9"/>
                  </a:lnTo>
                  <a:lnTo>
                    <a:pt x="203" y="6"/>
                  </a:lnTo>
                  <a:lnTo>
                    <a:pt x="206" y="3"/>
                  </a:lnTo>
                  <a:lnTo>
                    <a:pt x="209" y="0"/>
                  </a:lnTo>
                  <a:lnTo>
                    <a:pt x="215" y="6"/>
                  </a:lnTo>
                  <a:lnTo>
                    <a:pt x="215" y="9"/>
                  </a:lnTo>
                  <a:lnTo>
                    <a:pt x="218" y="12"/>
                  </a:lnTo>
                  <a:lnTo>
                    <a:pt x="218" y="15"/>
                  </a:lnTo>
                  <a:lnTo>
                    <a:pt x="209" y="21"/>
                  </a:lnTo>
                  <a:lnTo>
                    <a:pt x="203" y="24"/>
                  </a:lnTo>
                  <a:lnTo>
                    <a:pt x="197" y="27"/>
                  </a:lnTo>
                  <a:lnTo>
                    <a:pt x="192" y="33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89" y="44"/>
                  </a:lnTo>
                  <a:lnTo>
                    <a:pt x="186" y="47"/>
                  </a:lnTo>
                  <a:lnTo>
                    <a:pt x="189" y="50"/>
                  </a:lnTo>
                  <a:lnTo>
                    <a:pt x="192" y="50"/>
                  </a:lnTo>
                  <a:lnTo>
                    <a:pt x="194" y="50"/>
                  </a:lnTo>
                  <a:lnTo>
                    <a:pt x="194" y="53"/>
                  </a:lnTo>
                  <a:lnTo>
                    <a:pt x="197" y="56"/>
                  </a:lnTo>
                  <a:lnTo>
                    <a:pt x="197" y="59"/>
                  </a:lnTo>
                  <a:lnTo>
                    <a:pt x="203" y="59"/>
                  </a:lnTo>
                  <a:lnTo>
                    <a:pt x="203" y="62"/>
                  </a:lnTo>
                  <a:lnTo>
                    <a:pt x="206" y="62"/>
                  </a:lnTo>
                  <a:lnTo>
                    <a:pt x="209" y="65"/>
                  </a:lnTo>
                  <a:lnTo>
                    <a:pt x="212" y="65"/>
                  </a:lnTo>
                  <a:lnTo>
                    <a:pt x="215" y="71"/>
                  </a:lnTo>
                  <a:lnTo>
                    <a:pt x="218" y="77"/>
                  </a:lnTo>
                  <a:lnTo>
                    <a:pt x="221" y="92"/>
                  </a:lnTo>
                  <a:lnTo>
                    <a:pt x="224" y="98"/>
                  </a:lnTo>
                  <a:lnTo>
                    <a:pt x="224" y="104"/>
                  </a:lnTo>
                  <a:lnTo>
                    <a:pt x="230" y="118"/>
                  </a:lnTo>
                  <a:lnTo>
                    <a:pt x="233" y="124"/>
                  </a:lnTo>
                  <a:lnTo>
                    <a:pt x="236" y="130"/>
                  </a:lnTo>
                  <a:lnTo>
                    <a:pt x="236" y="133"/>
                  </a:lnTo>
                  <a:lnTo>
                    <a:pt x="233" y="136"/>
                  </a:lnTo>
                  <a:lnTo>
                    <a:pt x="233" y="139"/>
                  </a:lnTo>
                  <a:lnTo>
                    <a:pt x="239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4" y="133"/>
                  </a:lnTo>
                  <a:lnTo>
                    <a:pt x="254" y="130"/>
                  </a:lnTo>
                  <a:lnTo>
                    <a:pt x="256" y="127"/>
                  </a:lnTo>
                  <a:lnTo>
                    <a:pt x="262" y="130"/>
                  </a:lnTo>
                  <a:lnTo>
                    <a:pt x="259" y="136"/>
                  </a:lnTo>
                  <a:lnTo>
                    <a:pt x="262" y="139"/>
                  </a:lnTo>
                  <a:lnTo>
                    <a:pt x="268" y="145"/>
                  </a:lnTo>
                  <a:lnTo>
                    <a:pt x="271" y="145"/>
                  </a:lnTo>
                  <a:lnTo>
                    <a:pt x="277" y="151"/>
                  </a:lnTo>
                  <a:lnTo>
                    <a:pt x="280" y="151"/>
                  </a:lnTo>
                  <a:lnTo>
                    <a:pt x="283" y="154"/>
                  </a:lnTo>
                  <a:lnTo>
                    <a:pt x="280" y="160"/>
                  </a:lnTo>
                  <a:lnTo>
                    <a:pt x="283" y="165"/>
                  </a:lnTo>
                  <a:lnTo>
                    <a:pt x="283" y="168"/>
                  </a:lnTo>
                  <a:lnTo>
                    <a:pt x="283" y="171"/>
                  </a:lnTo>
                  <a:lnTo>
                    <a:pt x="283" y="177"/>
                  </a:lnTo>
                  <a:lnTo>
                    <a:pt x="286" y="177"/>
                  </a:lnTo>
                  <a:lnTo>
                    <a:pt x="289" y="180"/>
                  </a:lnTo>
                  <a:lnTo>
                    <a:pt x="292" y="183"/>
                  </a:lnTo>
                  <a:lnTo>
                    <a:pt x="295" y="186"/>
                  </a:lnTo>
                  <a:lnTo>
                    <a:pt x="295" y="189"/>
                  </a:lnTo>
                  <a:lnTo>
                    <a:pt x="295" y="198"/>
                  </a:lnTo>
                  <a:lnTo>
                    <a:pt x="298" y="198"/>
                  </a:lnTo>
                  <a:lnTo>
                    <a:pt x="298" y="204"/>
                  </a:lnTo>
                  <a:lnTo>
                    <a:pt x="301" y="207"/>
                  </a:lnTo>
                  <a:lnTo>
                    <a:pt x="295" y="207"/>
                  </a:lnTo>
                  <a:lnTo>
                    <a:pt x="289" y="207"/>
                  </a:lnTo>
                  <a:lnTo>
                    <a:pt x="286" y="210"/>
                  </a:lnTo>
                  <a:lnTo>
                    <a:pt x="286" y="213"/>
                  </a:lnTo>
                  <a:lnTo>
                    <a:pt x="292" y="219"/>
                  </a:lnTo>
                  <a:lnTo>
                    <a:pt x="295" y="216"/>
                  </a:lnTo>
                  <a:lnTo>
                    <a:pt x="298" y="216"/>
                  </a:lnTo>
                  <a:lnTo>
                    <a:pt x="304" y="219"/>
                  </a:lnTo>
                  <a:lnTo>
                    <a:pt x="304" y="222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7" y="233"/>
                  </a:lnTo>
                  <a:lnTo>
                    <a:pt x="304" y="245"/>
                  </a:lnTo>
                  <a:lnTo>
                    <a:pt x="301" y="245"/>
                  </a:lnTo>
                  <a:lnTo>
                    <a:pt x="298" y="245"/>
                  </a:lnTo>
                  <a:lnTo>
                    <a:pt x="289" y="245"/>
                  </a:lnTo>
                  <a:lnTo>
                    <a:pt x="286" y="245"/>
                  </a:lnTo>
                  <a:lnTo>
                    <a:pt x="289" y="251"/>
                  </a:lnTo>
                  <a:lnTo>
                    <a:pt x="283" y="254"/>
                  </a:lnTo>
                  <a:lnTo>
                    <a:pt x="280" y="257"/>
                  </a:lnTo>
                  <a:lnTo>
                    <a:pt x="274" y="257"/>
                  </a:lnTo>
                  <a:lnTo>
                    <a:pt x="271" y="260"/>
                  </a:lnTo>
                  <a:lnTo>
                    <a:pt x="268" y="263"/>
                  </a:lnTo>
                  <a:lnTo>
                    <a:pt x="271" y="263"/>
                  </a:lnTo>
                  <a:lnTo>
                    <a:pt x="274" y="266"/>
                  </a:lnTo>
                  <a:lnTo>
                    <a:pt x="277" y="272"/>
                  </a:lnTo>
                  <a:lnTo>
                    <a:pt x="274" y="275"/>
                  </a:lnTo>
                  <a:lnTo>
                    <a:pt x="271" y="278"/>
                  </a:lnTo>
                  <a:lnTo>
                    <a:pt x="268" y="278"/>
                  </a:lnTo>
                  <a:lnTo>
                    <a:pt x="262" y="284"/>
                  </a:lnTo>
                  <a:lnTo>
                    <a:pt x="259" y="281"/>
                  </a:lnTo>
                  <a:lnTo>
                    <a:pt x="256" y="278"/>
                  </a:lnTo>
                  <a:lnTo>
                    <a:pt x="256" y="272"/>
                  </a:lnTo>
                  <a:lnTo>
                    <a:pt x="254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8" y="278"/>
                  </a:lnTo>
                  <a:lnTo>
                    <a:pt x="245" y="278"/>
                  </a:lnTo>
                  <a:lnTo>
                    <a:pt x="239" y="275"/>
                  </a:lnTo>
                  <a:lnTo>
                    <a:pt x="236" y="272"/>
                  </a:lnTo>
                  <a:lnTo>
                    <a:pt x="230" y="275"/>
                  </a:lnTo>
                  <a:lnTo>
                    <a:pt x="233" y="275"/>
                  </a:lnTo>
                  <a:lnTo>
                    <a:pt x="233" y="278"/>
                  </a:lnTo>
                  <a:lnTo>
                    <a:pt x="233" y="284"/>
                  </a:lnTo>
                  <a:lnTo>
                    <a:pt x="236" y="289"/>
                  </a:lnTo>
                  <a:lnTo>
                    <a:pt x="233" y="292"/>
                  </a:lnTo>
                  <a:lnTo>
                    <a:pt x="230" y="292"/>
                  </a:lnTo>
                  <a:lnTo>
                    <a:pt x="230" y="295"/>
                  </a:lnTo>
                  <a:lnTo>
                    <a:pt x="230" y="298"/>
                  </a:lnTo>
                  <a:lnTo>
                    <a:pt x="233" y="301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27" y="310"/>
                  </a:lnTo>
                  <a:lnTo>
                    <a:pt x="227" y="307"/>
                  </a:lnTo>
                  <a:lnTo>
                    <a:pt x="224" y="307"/>
                  </a:lnTo>
                  <a:lnTo>
                    <a:pt x="221" y="313"/>
                  </a:lnTo>
                  <a:lnTo>
                    <a:pt x="215" y="316"/>
                  </a:lnTo>
                  <a:lnTo>
                    <a:pt x="209" y="319"/>
                  </a:lnTo>
                  <a:lnTo>
                    <a:pt x="203" y="322"/>
                  </a:lnTo>
                  <a:lnTo>
                    <a:pt x="200" y="316"/>
                  </a:lnTo>
                  <a:lnTo>
                    <a:pt x="192" y="316"/>
                  </a:lnTo>
                  <a:lnTo>
                    <a:pt x="183" y="316"/>
                  </a:lnTo>
                  <a:lnTo>
                    <a:pt x="177" y="316"/>
                  </a:lnTo>
                  <a:lnTo>
                    <a:pt x="171" y="316"/>
                  </a:lnTo>
                  <a:lnTo>
                    <a:pt x="165" y="313"/>
                  </a:lnTo>
                  <a:lnTo>
                    <a:pt x="165" y="310"/>
                  </a:lnTo>
                  <a:lnTo>
                    <a:pt x="162" y="310"/>
                  </a:lnTo>
                  <a:lnTo>
                    <a:pt x="159" y="310"/>
                  </a:lnTo>
                  <a:lnTo>
                    <a:pt x="156" y="307"/>
                  </a:lnTo>
                  <a:lnTo>
                    <a:pt x="153" y="310"/>
                  </a:lnTo>
                  <a:lnTo>
                    <a:pt x="150" y="313"/>
                  </a:lnTo>
                  <a:lnTo>
                    <a:pt x="147" y="319"/>
                  </a:lnTo>
                  <a:lnTo>
                    <a:pt x="144" y="322"/>
                  </a:lnTo>
                  <a:lnTo>
                    <a:pt x="141" y="325"/>
                  </a:lnTo>
                  <a:lnTo>
                    <a:pt x="138" y="328"/>
                  </a:lnTo>
                  <a:lnTo>
                    <a:pt x="138" y="334"/>
                  </a:lnTo>
                  <a:lnTo>
                    <a:pt x="138" y="337"/>
                  </a:lnTo>
                  <a:lnTo>
                    <a:pt x="135" y="337"/>
                  </a:lnTo>
                  <a:lnTo>
                    <a:pt x="133" y="334"/>
                  </a:lnTo>
                  <a:lnTo>
                    <a:pt x="133" y="331"/>
                  </a:lnTo>
                  <a:lnTo>
                    <a:pt x="130" y="328"/>
                  </a:lnTo>
                  <a:lnTo>
                    <a:pt x="127" y="328"/>
                  </a:lnTo>
                  <a:lnTo>
                    <a:pt x="127" y="325"/>
                  </a:lnTo>
                  <a:lnTo>
                    <a:pt x="130" y="322"/>
                  </a:lnTo>
                  <a:lnTo>
                    <a:pt x="130" y="316"/>
                  </a:lnTo>
                  <a:lnTo>
                    <a:pt x="133" y="310"/>
                  </a:lnTo>
                  <a:lnTo>
                    <a:pt x="133" y="307"/>
                  </a:lnTo>
                  <a:lnTo>
                    <a:pt x="133" y="304"/>
                  </a:lnTo>
                  <a:lnTo>
                    <a:pt x="133" y="301"/>
                  </a:lnTo>
                  <a:lnTo>
                    <a:pt x="130" y="301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4"/>
                  </a:lnTo>
                  <a:lnTo>
                    <a:pt x="121" y="298"/>
                  </a:lnTo>
                  <a:lnTo>
                    <a:pt x="124" y="295"/>
                  </a:lnTo>
                  <a:lnTo>
                    <a:pt x="121" y="292"/>
                  </a:lnTo>
                  <a:lnTo>
                    <a:pt x="121" y="295"/>
                  </a:lnTo>
                  <a:lnTo>
                    <a:pt x="115" y="295"/>
                  </a:lnTo>
                  <a:lnTo>
                    <a:pt x="112" y="298"/>
                  </a:lnTo>
                  <a:lnTo>
                    <a:pt x="109" y="295"/>
                  </a:lnTo>
                  <a:lnTo>
                    <a:pt x="106" y="292"/>
                  </a:lnTo>
                  <a:lnTo>
                    <a:pt x="106" y="289"/>
                  </a:lnTo>
                  <a:lnTo>
                    <a:pt x="100" y="286"/>
                  </a:lnTo>
                  <a:lnTo>
                    <a:pt x="88" y="284"/>
                  </a:lnTo>
                  <a:lnTo>
                    <a:pt x="85" y="281"/>
                  </a:lnTo>
                  <a:lnTo>
                    <a:pt x="82" y="284"/>
                  </a:lnTo>
                  <a:lnTo>
                    <a:pt x="76" y="289"/>
                  </a:lnTo>
                  <a:lnTo>
                    <a:pt x="73" y="289"/>
                  </a:lnTo>
                  <a:lnTo>
                    <a:pt x="71" y="289"/>
                  </a:lnTo>
                  <a:lnTo>
                    <a:pt x="68" y="286"/>
                  </a:lnTo>
                  <a:lnTo>
                    <a:pt x="65" y="2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7" name="Freeform 11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88337" y="1350150"/>
              <a:ext cx="54029" cy="58567"/>
            </a:xfrm>
            <a:custGeom>
              <a:avLst/>
              <a:gdLst>
                <a:gd name="T0" fmla="*/ 315 w 327"/>
                <a:gd name="T1" fmla="*/ 250 h 330"/>
                <a:gd name="T2" fmla="*/ 292 w 327"/>
                <a:gd name="T3" fmla="*/ 239 h 330"/>
                <a:gd name="T4" fmla="*/ 265 w 327"/>
                <a:gd name="T5" fmla="*/ 230 h 330"/>
                <a:gd name="T6" fmla="*/ 233 w 327"/>
                <a:gd name="T7" fmla="*/ 242 h 330"/>
                <a:gd name="T8" fmla="*/ 209 w 327"/>
                <a:gd name="T9" fmla="*/ 259 h 330"/>
                <a:gd name="T10" fmla="*/ 203 w 327"/>
                <a:gd name="T11" fmla="*/ 271 h 330"/>
                <a:gd name="T12" fmla="*/ 203 w 327"/>
                <a:gd name="T13" fmla="*/ 283 h 330"/>
                <a:gd name="T14" fmla="*/ 203 w 327"/>
                <a:gd name="T15" fmla="*/ 306 h 330"/>
                <a:gd name="T16" fmla="*/ 200 w 327"/>
                <a:gd name="T17" fmla="*/ 321 h 330"/>
                <a:gd name="T18" fmla="*/ 177 w 327"/>
                <a:gd name="T19" fmla="*/ 327 h 330"/>
                <a:gd name="T20" fmla="*/ 171 w 327"/>
                <a:gd name="T21" fmla="*/ 321 h 330"/>
                <a:gd name="T22" fmla="*/ 147 w 327"/>
                <a:gd name="T23" fmla="*/ 315 h 330"/>
                <a:gd name="T24" fmla="*/ 144 w 327"/>
                <a:gd name="T25" fmla="*/ 295 h 330"/>
                <a:gd name="T26" fmla="*/ 132 w 327"/>
                <a:gd name="T27" fmla="*/ 283 h 330"/>
                <a:gd name="T28" fmla="*/ 118 w 327"/>
                <a:gd name="T29" fmla="*/ 268 h 330"/>
                <a:gd name="T30" fmla="*/ 103 w 327"/>
                <a:gd name="T31" fmla="*/ 259 h 330"/>
                <a:gd name="T32" fmla="*/ 97 w 327"/>
                <a:gd name="T33" fmla="*/ 244 h 330"/>
                <a:gd name="T34" fmla="*/ 85 w 327"/>
                <a:gd name="T35" fmla="*/ 224 h 330"/>
                <a:gd name="T36" fmla="*/ 70 w 327"/>
                <a:gd name="T37" fmla="*/ 206 h 330"/>
                <a:gd name="T38" fmla="*/ 62 w 327"/>
                <a:gd name="T39" fmla="*/ 221 h 330"/>
                <a:gd name="T40" fmla="*/ 50 w 327"/>
                <a:gd name="T41" fmla="*/ 209 h 330"/>
                <a:gd name="T42" fmla="*/ 35 w 327"/>
                <a:gd name="T43" fmla="*/ 171 h 330"/>
                <a:gd name="T44" fmla="*/ 20 w 327"/>
                <a:gd name="T45" fmla="*/ 141 h 330"/>
                <a:gd name="T46" fmla="*/ 8 w 327"/>
                <a:gd name="T47" fmla="*/ 132 h 330"/>
                <a:gd name="T48" fmla="*/ 3 w 327"/>
                <a:gd name="T49" fmla="*/ 123 h 330"/>
                <a:gd name="T50" fmla="*/ 17 w 327"/>
                <a:gd name="T51" fmla="*/ 103 h 330"/>
                <a:gd name="T52" fmla="*/ 29 w 327"/>
                <a:gd name="T53" fmla="*/ 85 h 330"/>
                <a:gd name="T54" fmla="*/ 29 w 327"/>
                <a:gd name="T55" fmla="*/ 70 h 330"/>
                <a:gd name="T56" fmla="*/ 32 w 327"/>
                <a:gd name="T57" fmla="*/ 50 h 330"/>
                <a:gd name="T58" fmla="*/ 29 w 327"/>
                <a:gd name="T59" fmla="*/ 35 h 330"/>
                <a:gd name="T60" fmla="*/ 53 w 327"/>
                <a:gd name="T61" fmla="*/ 29 h 330"/>
                <a:gd name="T62" fmla="*/ 73 w 327"/>
                <a:gd name="T63" fmla="*/ 11 h 330"/>
                <a:gd name="T64" fmla="*/ 115 w 327"/>
                <a:gd name="T65" fmla="*/ 8 h 330"/>
                <a:gd name="T66" fmla="*/ 124 w 327"/>
                <a:gd name="T67" fmla="*/ 11 h 330"/>
                <a:gd name="T68" fmla="*/ 150 w 327"/>
                <a:gd name="T69" fmla="*/ 32 h 330"/>
                <a:gd name="T70" fmla="*/ 171 w 327"/>
                <a:gd name="T71" fmla="*/ 50 h 330"/>
                <a:gd name="T72" fmla="*/ 197 w 327"/>
                <a:gd name="T73" fmla="*/ 38 h 330"/>
                <a:gd name="T74" fmla="*/ 215 w 327"/>
                <a:gd name="T75" fmla="*/ 47 h 330"/>
                <a:gd name="T76" fmla="*/ 227 w 327"/>
                <a:gd name="T77" fmla="*/ 67 h 330"/>
                <a:gd name="T78" fmla="*/ 259 w 327"/>
                <a:gd name="T79" fmla="*/ 70 h 330"/>
                <a:gd name="T80" fmla="*/ 274 w 327"/>
                <a:gd name="T81" fmla="*/ 73 h 330"/>
                <a:gd name="T82" fmla="*/ 268 w 327"/>
                <a:gd name="T83" fmla="*/ 97 h 330"/>
                <a:gd name="T84" fmla="*/ 277 w 327"/>
                <a:gd name="T85" fmla="*/ 97 h 330"/>
                <a:gd name="T86" fmla="*/ 280 w 327"/>
                <a:gd name="T87" fmla="*/ 109 h 330"/>
                <a:gd name="T88" fmla="*/ 277 w 327"/>
                <a:gd name="T89" fmla="*/ 121 h 330"/>
                <a:gd name="T90" fmla="*/ 286 w 327"/>
                <a:gd name="T91" fmla="*/ 129 h 330"/>
                <a:gd name="T92" fmla="*/ 295 w 327"/>
                <a:gd name="T93" fmla="*/ 135 h 330"/>
                <a:gd name="T94" fmla="*/ 301 w 327"/>
                <a:gd name="T95" fmla="*/ 147 h 330"/>
                <a:gd name="T96" fmla="*/ 304 w 327"/>
                <a:gd name="T97" fmla="*/ 156 h 330"/>
                <a:gd name="T98" fmla="*/ 301 w 327"/>
                <a:gd name="T99" fmla="*/ 171 h 330"/>
                <a:gd name="T100" fmla="*/ 301 w 327"/>
                <a:gd name="T101" fmla="*/ 180 h 330"/>
                <a:gd name="T102" fmla="*/ 307 w 327"/>
                <a:gd name="T103" fmla="*/ 188 h 330"/>
                <a:gd name="T104" fmla="*/ 309 w 327"/>
                <a:gd name="T105" fmla="*/ 197 h 330"/>
                <a:gd name="T106" fmla="*/ 301 w 327"/>
                <a:gd name="T107" fmla="*/ 209 h 330"/>
                <a:gd name="T108" fmla="*/ 304 w 327"/>
                <a:gd name="T109" fmla="*/ 221 h 330"/>
                <a:gd name="T110" fmla="*/ 312 w 327"/>
                <a:gd name="T111" fmla="*/ 230 h 3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7"/>
                <a:gd name="T169" fmla="*/ 0 h 330"/>
                <a:gd name="T170" fmla="*/ 327 w 327"/>
                <a:gd name="T171" fmla="*/ 330 h 3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7" h="330">
                  <a:moveTo>
                    <a:pt x="315" y="233"/>
                  </a:moveTo>
                  <a:lnTo>
                    <a:pt x="324" y="244"/>
                  </a:lnTo>
                  <a:lnTo>
                    <a:pt x="327" y="250"/>
                  </a:lnTo>
                  <a:lnTo>
                    <a:pt x="324" y="253"/>
                  </a:lnTo>
                  <a:lnTo>
                    <a:pt x="315" y="250"/>
                  </a:lnTo>
                  <a:lnTo>
                    <a:pt x="312" y="247"/>
                  </a:lnTo>
                  <a:lnTo>
                    <a:pt x="309" y="244"/>
                  </a:lnTo>
                  <a:lnTo>
                    <a:pt x="307" y="242"/>
                  </a:lnTo>
                  <a:lnTo>
                    <a:pt x="298" y="242"/>
                  </a:lnTo>
                  <a:lnTo>
                    <a:pt x="292" y="239"/>
                  </a:lnTo>
                  <a:lnTo>
                    <a:pt x="286" y="239"/>
                  </a:lnTo>
                  <a:lnTo>
                    <a:pt x="283" y="242"/>
                  </a:lnTo>
                  <a:lnTo>
                    <a:pt x="277" y="239"/>
                  </a:lnTo>
                  <a:lnTo>
                    <a:pt x="268" y="233"/>
                  </a:lnTo>
                  <a:lnTo>
                    <a:pt x="265" y="230"/>
                  </a:lnTo>
                  <a:lnTo>
                    <a:pt x="262" y="230"/>
                  </a:lnTo>
                  <a:lnTo>
                    <a:pt x="259" y="233"/>
                  </a:lnTo>
                  <a:lnTo>
                    <a:pt x="253" y="236"/>
                  </a:lnTo>
                  <a:lnTo>
                    <a:pt x="242" y="239"/>
                  </a:lnTo>
                  <a:lnTo>
                    <a:pt x="233" y="242"/>
                  </a:lnTo>
                  <a:lnTo>
                    <a:pt x="227" y="244"/>
                  </a:lnTo>
                  <a:lnTo>
                    <a:pt x="221" y="244"/>
                  </a:lnTo>
                  <a:lnTo>
                    <a:pt x="218" y="250"/>
                  </a:lnTo>
                  <a:lnTo>
                    <a:pt x="212" y="256"/>
                  </a:lnTo>
                  <a:lnTo>
                    <a:pt x="209" y="259"/>
                  </a:lnTo>
                  <a:lnTo>
                    <a:pt x="212" y="265"/>
                  </a:lnTo>
                  <a:lnTo>
                    <a:pt x="212" y="268"/>
                  </a:lnTo>
                  <a:lnTo>
                    <a:pt x="209" y="268"/>
                  </a:lnTo>
                  <a:lnTo>
                    <a:pt x="206" y="268"/>
                  </a:lnTo>
                  <a:lnTo>
                    <a:pt x="203" y="271"/>
                  </a:lnTo>
                  <a:lnTo>
                    <a:pt x="206" y="271"/>
                  </a:lnTo>
                  <a:lnTo>
                    <a:pt x="209" y="274"/>
                  </a:lnTo>
                  <a:lnTo>
                    <a:pt x="206" y="277"/>
                  </a:lnTo>
                  <a:lnTo>
                    <a:pt x="203" y="280"/>
                  </a:lnTo>
                  <a:lnTo>
                    <a:pt x="203" y="283"/>
                  </a:lnTo>
                  <a:lnTo>
                    <a:pt x="200" y="286"/>
                  </a:lnTo>
                  <a:lnTo>
                    <a:pt x="200" y="292"/>
                  </a:lnTo>
                  <a:lnTo>
                    <a:pt x="203" y="301"/>
                  </a:lnTo>
                  <a:lnTo>
                    <a:pt x="206" y="303"/>
                  </a:lnTo>
                  <a:lnTo>
                    <a:pt x="203" y="306"/>
                  </a:lnTo>
                  <a:lnTo>
                    <a:pt x="203" y="309"/>
                  </a:lnTo>
                  <a:lnTo>
                    <a:pt x="206" y="312"/>
                  </a:lnTo>
                  <a:lnTo>
                    <a:pt x="206" y="315"/>
                  </a:lnTo>
                  <a:lnTo>
                    <a:pt x="209" y="318"/>
                  </a:lnTo>
                  <a:lnTo>
                    <a:pt x="200" y="321"/>
                  </a:lnTo>
                  <a:lnTo>
                    <a:pt x="191" y="324"/>
                  </a:lnTo>
                  <a:lnTo>
                    <a:pt x="186" y="324"/>
                  </a:lnTo>
                  <a:lnTo>
                    <a:pt x="183" y="327"/>
                  </a:lnTo>
                  <a:lnTo>
                    <a:pt x="180" y="327"/>
                  </a:lnTo>
                  <a:lnTo>
                    <a:pt x="177" y="327"/>
                  </a:lnTo>
                  <a:lnTo>
                    <a:pt x="174" y="330"/>
                  </a:lnTo>
                  <a:lnTo>
                    <a:pt x="171" y="330"/>
                  </a:lnTo>
                  <a:lnTo>
                    <a:pt x="171" y="327"/>
                  </a:lnTo>
                  <a:lnTo>
                    <a:pt x="174" y="324"/>
                  </a:lnTo>
                  <a:lnTo>
                    <a:pt x="171" y="321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59" y="321"/>
                  </a:lnTo>
                  <a:lnTo>
                    <a:pt x="150" y="318"/>
                  </a:lnTo>
                  <a:lnTo>
                    <a:pt x="147" y="315"/>
                  </a:lnTo>
                  <a:lnTo>
                    <a:pt x="144" y="312"/>
                  </a:lnTo>
                  <a:lnTo>
                    <a:pt x="141" y="306"/>
                  </a:lnTo>
                  <a:lnTo>
                    <a:pt x="144" y="303"/>
                  </a:lnTo>
                  <a:lnTo>
                    <a:pt x="147" y="301"/>
                  </a:lnTo>
                  <a:lnTo>
                    <a:pt x="144" y="295"/>
                  </a:lnTo>
                  <a:lnTo>
                    <a:pt x="138" y="289"/>
                  </a:lnTo>
                  <a:lnTo>
                    <a:pt x="135" y="289"/>
                  </a:lnTo>
                  <a:lnTo>
                    <a:pt x="132" y="289"/>
                  </a:lnTo>
                  <a:lnTo>
                    <a:pt x="132" y="286"/>
                  </a:lnTo>
                  <a:lnTo>
                    <a:pt x="132" y="283"/>
                  </a:lnTo>
                  <a:lnTo>
                    <a:pt x="129" y="280"/>
                  </a:lnTo>
                  <a:lnTo>
                    <a:pt x="127" y="277"/>
                  </a:lnTo>
                  <a:lnTo>
                    <a:pt x="127" y="274"/>
                  </a:lnTo>
                  <a:lnTo>
                    <a:pt x="121" y="271"/>
                  </a:lnTo>
                  <a:lnTo>
                    <a:pt x="118" y="268"/>
                  </a:lnTo>
                  <a:lnTo>
                    <a:pt x="115" y="265"/>
                  </a:lnTo>
                  <a:lnTo>
                    <a:pt x="112" y="265"/>
                  </a:lnTo>
                  <a:lnTo>
                    <a:pt x="109" y="265"/>
                  </a:lnTo>
                  <a:lnTo>
                    <a:pt x="106" y="262"/>
                  </a:lnTo>
                  <a:lnTo>
                    <a:pt x="103" y="259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0"/>
                  </a:lnTo>
                  <a:lnTo>
                    <a:pt x="97" y="247"/>
                  </a:lnTo>
                  <a:lnTo>
                    <a:pt x="97" y="244"/>
                  </a:lnTo>
                  <a:lnTo>
                    <a:pt x="94" y="239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1" y="230"/>
                  </a:lnTo>
                  <a:lnTo>
                    <a:pt x="85" y="224"/>
                  </a:lnTo>
                  <a:lnTo>
                    <a:pt x="82" y="224"/>
                  </a:lnTo>
                  <a:lnTo>
                    <a:pt x="76" y="218"/>
                  </a:lnTo>
                  <a:lnTo>
                    <a:pt x="73" y="215"/>
                  </a:lnTo>
                  <a:lnTo>
                    <a:pt x="76" y="209"/>
                  </a:lnTo>
                  <a:lnTo>
                    <a:pt x="70" y="206"/>
                  </a:lnTo>
                  <a:lnTo>
                    <a:pt x="68" y="209"/>
                  </a:lnTo>
                  <a:lnTo>
                    <a:pt x="68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62" y="221"/>
                  </a:lnTo>
                  <a:lnTo>
                    <a:pt x="53" y="221"/>
                  </a:lnTo>
                  <a:lnTo>
                    <a:pt x="47" y="218"/>
                  </a:lnTo>
                  <a:lnTo>
                    <a:pt x="47" y="215"/>
                  </a:lnTo>
                  <a:lnTo>
                    <a:pt x="50" y="212"/>
                  </a:lnTo>
                  <a:lnTo>
                    <a:pt x="50" y="209"/>
                  </a:lnTo>
                  <a:lnTo>
                    <a:pt x="47" y="203"/>
                  </a:lnTo>
                  <a:lnTo>
                    <a:pt x="44" y="197"/>
                  </a:lnTo>
                  <a:lnTo>
                    <a:pt x="38" y="183"/>
                  </a:lnTo>
                  <a:lnTo>
                    <a:pt x="38" y="177"/>
                  </a:lnTo>
                  <a:lnTo>
                    <a:pt x="35" y="171"/>
                  </a:lnTo>
                  <a:lnTo>
                    <a:pt x="32" y="156"/>
                  </a:lnTo>
                  <a:lnTo>
                    <a:pt x="29" y="150"/>
                  </a:lnTo>
                  <a:lnTo>
                    <a:pt x="26" y="144"/>
                  </a:lnTo>
                  <a:lnTo>
                    <a:pt x="23" y="144"/>
                  </a:lnTo>
                  <a:lnTo>
                    <a:pt x="20" y="141"/>
                  </a:lnTo>
                  <a:lnTo>
                    <a:pt x="17" y="141"/>
                  </a:lnTo>
                  <a:lnTo>
                    <a:pt x="17" y="138"/>
                  </a:lnTo>
                  <a:lnTo>
                    <a:pt x="11" y="138"/>
                  </a:lnTo>
                  <a:lnTo>
                    <a:pt x="11" y="135"/>
                  </a:lnTo>
                  <a:lnTo>
                    <a:pt x="8" y="132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0" y="126"/>
                  </a:lnTo>
                  <a:lnTo>
                    <a:pt x="3" y="123"/>
                  </a:lnTo>
                  <a:lnTo>
                    <a:pt x="6" y="121"/>
                  </a:lnTo>
                  <a:lnTo>
                    <a:pt x="6" y="115"/>
                  </a:lnTo>
                  <a:lnTo>
                    <a:pt x="6" y="112"/>
                  </a:lnTo>
                  <a:lnTo>
                    <a:pt x="11" y="106"/>
                  </a:lnTo>
                  <a:lnTo>
                    <a:pt x="17" y="103"/>
                  </a:lnTo>
                  <a:lnTo>
                    <a:pt x="23" y="100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3" y="79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5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2" y="50"/>
                  </a:lnTo>
                  <a:lnTo>
                    <a:pt x="29" y="47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7" y="35"/>
                  </a:lnTo>
                  <a:lnTo>
                    <a:pt x="53" y="29"/>
                  </a:lnTo>
                  <a:lnTo>
                    <a:pt x="59" y="26"/>
                  </a:lnTo>
                  <a:lnTo>
                    <a:pt x="65" y="23"/>
                  </a:lnTo>
                  <a:lnTo>
                    <a:pt x="70" y="20"/>
                  </a:lnTo>
                  <a:lnTo>
                    <a:pt x="70" y="17"/>
                  </a:lnTo>
                  <a:lnTo>
                    <a:pt x="73" y="11"/>
                  </a:lnTo>
                  <a:lnTo>
                    <a:pt x="82" y="5"/>
                  </a:lnTo>
                  <a:lnTo>
                    <a:pt x="91" y="5"/>
                  </a:lnTo>
                  <a:lnTo>
                    <a:pt x="103" y="5"/>
                  </a:lnTo>
                  <a:lnTo>
                    <a:pt x="109" y="8"/>
                  </a:lnTo>
                  <a:lnTo>
                    <a:pt x="115" y="8"/>
                  </a:lnTo>
                  <a:lnTo>
                    <a:pt x="118" y="5"/>
                  </a:lnTo>
                  <a:lnTo>
                    <a:pt x="121" y="0"/>
                  </a:lnTo>
                  <a:lnTo>
                    <a:pt x="127" y="0"/>
                  </a:lnTo>
                  <a:lnTo>
                    <a:pt x="124" y="5"/>
                  </a:lnTo>
                  <a:lnTo>
                    <a:pt x="124" y="11"/>
                  </a:lnTo>
                  <a:lnTo>
                    <a:pt x="127" y="17"/>
                  </a:lnTo>
                  <a:lnTo>
                    <a:pt x="132" y="26"/>
                  </a:lnTo>
                  <a:lnTo>
                    <a:pt x="141" y="32"/>
                  </a:lnTo>
                  <a:lnTo>
                    <a:pt x="147" y="32"/>
                  </a:lnTo>
                  <a:lnTo>
                    <a:pt x="150" y="32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9" y="41"/>
                  </a:lnTo>
                  <a:lnTo>
                    <a:pt x="165" y="47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7" y="47"/>
                  </a:lnTo>
                  <a:lnTo>
                    <a:pt x="189" y="44"/>
                  </a:lnTo>
                  <a:lnTo>
                    <a:pt x="194" y="41"/>
                  </a:lnTo>
                  <a:lnTo>
                    <a:pt x="197" y="38"/>
                  </a:lnTo>
                  <a:lnTo>
                    <a:pt x="206" y="35"/>
                  </a:lnTo>
                  <a:lnTo>
                    <a:pt x="209" y="35"/>
                  </a:lnTo>
                  <a:lnTo>
                    <a:pt x="215" y="41"/>
                  </a:lnTo>
                  <a:lnTo>
                    <a:pt x="218" y="44"/>
                  </a:lnTo>
                  <a:lnTo>
                    <a:pt x="215" y="47"/>
                  </a:lnTo>
                  <a:lnTo>
                    <a:pt x="218" y="50"/>
                  </a:lnTo>
                  <a:lnTo>
                    <a:pt x="221" y="53"/>
                  </a:lnTo>
                  <a:lnTo>
                    <a:pt x="227" y="59"/>
                  </a:lnTo>
                  <a:lnTo>
                    <a:pt x="227" y="62"/>
                  </a:lnTo>
                  <a:lnTo>
                    <a:pt x="227" y="67"/>
                  </a:lnTo>
                  <a:lnTo>
                    <a:pt x="230" y="70"/>
                  </a:lnTo>
                  <a:lnTo>
                    <a:pt x="236" y="73"/>
                  </a:lnTo>
                  <a:lnTo>
                    <a:pt x="245" y="73"/>
                  </a:lnTo>
                  <a:lnTo>
                    <a:pt x="250" y="70"/>
                  </a:lnTo>
                  <a:lnTo>
                    <a:pt x="259" y="70"/>
                  </a:lnTo>
                  <a:lnTo>
                    <a:pt x="265" y="64"/>
                  </a:lnTo>
                  <a:lnTo>
                    <a:pt x="268" y="62"/>
                  </a:lnTo>
                  <a:lnTo>
                    <a:pt x="271" y="62"/>
                  </a:lnTo>
                  <a:lnTo>
                    <a:pt x="271" y="67"/>
                  </a:lnTo>
                  <a:lnTo>
                    <a:pt x="274" y="73"/>
                  </a:lnTo>
                  <a:lnTo>
                    <a:pt x="274" y="76"/>
                  </a:lnTo>
                  <a:lnTo>
                    <a:pt x="268" y="82"/>
                  </a:lnTo>
                  <a:lnTo>
                    <a:pt x="262" y="88"/>
                  </a:lnTo>
                  <a:lnTo>
                    <a:pt x="262" y="91"/>
                  </a:lnTo>
                  <a:lnTo>
                    <a:pt x="268" y="97"/>
                  </a:lnTo>
                  <a:lnTo>
                    <a:pt x="268" y="94"/>
                  </a:lnTo>
                  <a:lnTo>
                    <a:pt x="274" y="91"/>
                  </a:lnTo>
                  <a:lnTo>
                    <a:pt x="274" y="94"/>
                  </a:lnTo>
                  <a:lnTo>
                    <a:pt x="277" y="94"/>
                  </a:lnTo>
                  <a:lnTo>
                    <a:pt x="277" y="97"/>
                  </a:lnTo>
                  <a:lnTo>
                    <a:pt x="277" y="100"/>
                  </a:lnTo>
                  <a:lnTo>
                    <a:pt x="280" y="100"/>
                  </a:lnTo>
                  <a:lnTo>
                    <a:pt x="277" y="103"/>
                  </a:lnTo>
                  <a:lnTo>
                    <a:pt x="277" y="106"/>
                  </a:lnTo>
                  <a:lnTo>
                    <a:pt x="280" y="109"/>
                  </a:lnTo>
                  <a:lnTo>
                    <a:pt x="277" y="112"/>
                  </a:lnTo>
                  <a:lnTo>
                    <a:pt x="280" y="112"/>
                  </a:lnTo>
                  <a:lnTo>
                    <a:pt x="280" y="115"/>
                  </a:lnTo>
                  <a:lnTo>
                    <a:pt x="280" y="121"/>
                  </a:lnTo>
                  <a:lnTo>
                    <a:pt x="277" y="121"/>
                  </a:lnTo>
                  <a:lnTo>
                    <a:pt x="277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9" y="132"/>
                  </a:lnTo>
                  <a:lnTo>
                    <a:pt x="292" y="132"/>
                  </a:lnTo>
                  <a:lnTo>
                    <a:pt x="292" y="135"/>
                  </a:lnTo>
                  <a:lnTo>
                    <a:pt x="292" y="132"/>
                  </a:lnTo>
                  <a:lnTo>
                    <a:pt x="295" y="135"/>
                  </a:lnTo>
                  <a:lnTo>
                    <a:pt x="298" y="135"/>
                  </a:lnTo>
                  <a:lnTo>
                    <a:pt x="298" y="138"/>
                  </a:lnTo>
                  <a:lnTo>
                    <a:pt x="298" y="141"/>
                  </a:lnTo>
                  <a:lnTo>
                    <a:pt x="298" y="144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4" y="150"/>
                  </a:lnTo>
                  <a:lnTo>
                    <a:pt x="307" y="150"/>
                  </a:lnTo>
                  <a:lnTo>
                    <a:pt x="307" y="153"/>
                  </a:lnTo>
                  <a:lnTo>
                    <a:pt x="304" y="156"/>
                  </a:lnTo>
                  <a:lnTo>
                    <a:pt x="304" y="159"/>
                  </a:lnTo>
                  <a:lnTo>
                    <a:pt x="304" y="162"/>
                  </a:lnTo>
                  <a:lnTo>
                    <a:pt x="304" y="165"/>
                  </a:lnTo>
                  <a:lnTo>
                    <a:pt x="301" y="168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4"/>
                  </a:lnTo>
                  <a:lnTo>
                    <a:pt x="298" y="177"/>
                  </a:lnTo>
                  <a:lnTo>
                    <a:pt x="301" y="177"/>
                  </a:lnTo>
                  <a:lnTo>
                    <a:pt x="301" y="180"/>
                  </a:lnTo>
                  <a:lnTo>
                    <a:pt x="301" y="183"/>
                  </a:lnTo>
                  <a:lnTo>
                    <a:pt x="304" y="183"/>
                  </a:lnTo>
                  <a:lnTo>
                    <a:pt x="304" y="185"/>
                  </a:lnTo>
                  <a:lnTo>
                    <a:pt x="307" y="185"/>
                  </a:lnTo>
                  <a:lnTo>
                    <a:pt x="307" y="188"/>
                  </a:lnTo>
                  <a:lnTo>
                    <a:pt x="309" y="188"/>
                  </a:lnTo>
                  <a:lnTo>
                    <a:pt x="309" y="191"/>
                  </a:lnTo>
                  <a:lnTo>
                    <a:pt x="312" y="191"/>
                  </a:lnTo>
                  <a:lnTo>
                    <a:pt x="312" y="194"/>
                  </a:lnTo>
                  <a:lnTo>
                    <a:pt x="309" y="197"/>
                  </a:lnTo>
                  <a:lnTo>
                    <a:pt x="307" y="200"/>
                  </a:lnTo>
                  <a:lnTo>
                    <a:pt x="304" y="200"/>
                  </a:lnTo>
                  <a:lnTo>
                    <a:pt x="301" y="203"/>
                  </a:lnTo>
                  <a:lnTo>
                    <a:pt x="301" y="206"/>
                  </a:lnTo>
                  <a:lnTo>
                    <a:pt x="301" y="209"/>
                  </a:lnTo>
                  <a:lnTo>
                    <a:pt x="304" y="209"/>
                  </a:lnTo>
                  <a:lnTo>
                    <a:pt x="307" y="212"/>
                  </a:lnTo>
                  <a:lnTo>
                    <a:pt x="307" y="215"/>
                  </a:lnTo>
                  <a:lnTo>
                    <a:pt x="307" y="218"/>
                  </a:lnTo>
                  <a:lnTo>
                    <a:pt x="304" y="221"/>
                  </a:lnTo>
                  <a:lnTo>
                    <a:pt x="304" y="224"/>
                  </a:lnTo>
                  <a:lnTo>
                    <a:pt x="304" y="227"/>
                  </a:lnTo>
                  <a:lnTo>
                    <a:pt x="307" y="230"/>
                  </a:lnTo>
                  <a:lnTo>
                    <a:pt x="309" y="230"/>
                  </a:lnTo>
                  <a:lnTo>
                    <a:pt x="312" y="230"/>
                  </a:lnTo>
                  <a:lnTo>
                    <a:pt x="315" y="23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Freeform 11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66858" y="1397181"/>
              <a:ext cx="52212" cy="66021"/>
            </a:xfrm>
            <a:custGeom>
              <a:avLst/>
              <a:gdLst>
                <a:gd name="T0" fmla="*/ 254 w 316"/>
                <a:gd name="T1" fmla="*/ 357 h 372"/>
                <a:gd name="T2" fmla="*/ 239 w 316"/>
                <a:gd name="T3" fmla="*/ 372 h 372"/>
                <a:gd name="T4" fmla="*/ 239 w 316"/>
                <a:gd name="T5" fmla="*/ 345 h 372"/>
                <a:gd name="T6" fmla="*/ 239 w 316"/>
                <a:gd name="T7" fmla="*/ 313 h 372"/>
                <a:gd name="T8" fmla="*/ 215 w 316"/>
                <a:gd name="T9" fmla="*/ 325 h 372"/>
                <a:gd name="T10" fmla="*/ 195 w 316"/>
                <a:gd name="T11" fmla="*/ 325 h 372"/>
                <a:gd name="T12" fmla="*/ 186 w 316"/>
                <a:gd name="T13" fmla="*/ 313 h 372"/>
                <a:gd name="T14" fmla="*/ 165 w 316"/>
                <a:gd name="T15" fmla="*/ 325 h 372"/>
                <a:gd name="T16" fmla="*/ 162 w 316"/>
                <a:gd name="T17" fmla="*/ 351 h 372"/>
                <a:gd name="T18" fmla="*/ 138 w 316"/>
                <a:gd name="T19" fmla="*/ 337 h 372"/>
                <a:gd name="T20" fmla="*/ 147 w 316"/>
                <a:gd name="T21" fmla="*/ 319 h 372"/>
                <a:gd name="T22" fmla="*/ 150 w 316"/>
                <a:gd name="T23" fmla="*/ 301 h 372"/>
                <a:gd name="T24" fmla="*/ 124 w 316"/>
                <a:gd name="T25" fmla="*/ 283 h 372"/>
                <a:gd name="T26" fmla="*/ 109 w 316"/>
                <a:gd name="T27" fmla="*/ 260 h 372"/>
                <a:gd name="T28" fmla="*/ 100 w 316"/>
                <a:gd name="T29" fmla="*/ 210 h 372"/>
                <a:gd name="T30" fmla="*/ 94 w 316"/>
                <a:gd name="T31" fmla="*/ 186 h 372"/>
                <a:gd name="T32" fmla="*/ 62 w 316"/>
                <a:gd name="T33" fmla="*/ 186 h 372"/>
                <a:gd name="T34" fmla="*/ 41 w 316"/>
                <a:gd name="T35" fmla="*/ 165 h 372"/>
                <a:gd name="T36" fmla="*/ 12 w 316"/>
                <a:gd name="T37" fmla="*/ 151 h 372"/>
                <a:gd name="T38" fmla="*/ 9 w 316"/>
                <a:gd name="T39" fmla="*/ 121 h 372"/>
                <a:gd name="T40" fmla="*/ 15 w 316"/>
                <a:gd name="T41" fmla="*/ 103 h 372"/>
                <a:gd name="T42" fmla="*/ 50 w 316"/>
                <a:gd name="T43" fmla="*/ 103 h 372"/>
                <a:gd name="T44" fmla="*/ 68 w 316"/>
                <a:gd name="T45" fmla="*/ 109 h 372"/>
                <a:gd name="T46" fmla="*/ 77 w 316"/>
                <a:gd name="T47" fmla="*/ 115 h 372"/>
                <a:gd name="T48" fmla="*/ 71 w 316"/>
                <a:gd name="T49" fmla="*/ 142 h 372"/>
                <a:gd name="T50" fmla="*/ 82 w 316"/>
                <a:gd name="T51" fmla="*/ 142 h 372"/>
                <a:gd name="T52" fmla="*/ 103 w 316"/>
                <a:gd name="T53" fmla="*/ 124 h 372"/>
                <a:gd name="T54" fmla="*/ 136 w 316"/>
                <a:gd name="T55" fmla="*/ 130 h 372"/>
                <a:gd name="T56" fmla="*/ 171 w 316"/>
                <a:gd name="T57" fmla="*/ 121 h 372"/>
                <a:gd name="T58" fmla="*/ 174 w 316"/>
                <a:gd name="T59" fmla="*/ 109 h 372"/>
                <a:gd name="T60" fmla="*/ 174 w 316"/>
                <a:gd name="T61" fmla="*/ 89 h 372"/>
                <a:gd name="T62" fmla="*/ 198 w 316"/>
                <a:gd name="T63" fmla="*/ 89 h 372"/>
                <a:gd name="T64" fmla="*/ 218 w 316"/>
                <a:gd name="T65" fmla="*/ 89 h 372"/>
                <a:gd name="T66" fmla="*/ 224 w 316"/>
                <a:gd name="T67" fmla="*/ 71 h 372"/>
                <a:gd name="T68" fmla="*/ 248 w 316"/>
                <a:gd name="T69" fmla="*/ 59 h 372"/>
                <a:gd name="T70" fmla="*/ 245 w 316"/>
                <a:gd name="T71" fmla="*/ 27 h 372"/>
                <a:gd name="T72" fmla="*/ 239 w 316"/>
                <a:gd name="T73" fmla="*/ 0 h 372"/>
                <a:gd name="T74" fmla="*/ 259 w 316"/>
                <a:gd name="T75" fmla="*/ 15 h 372"/>
                <a:gd name="T76" fmla="*/ 277 w 316"/>
                <a:gd name="T77" fmla="*/ 36 h 372"/>
                <a:gd name="T78" fmla="*/ 295 w 316"/>
                <a:gd name="T79" fmla="*/ 59 h 372"/>
                <a:gd name="T80" fmla="*/ 307 w 316"/>
                <a:gd name="T81" fmla="*/ 62 h 372"/>
                <a:gd name="T82" fmla="*/ 295 w 316"/>
                <a:gd name="T83" fmla="*/ 95 h 372"/>
                <a:gd name="T84" fmla="*/ 277 w 316"/>
                <a:gd name="T85" fmla="*/ 115 h 372"/>
                <a:gd name="T86" fmla="*/ 265 w 316"/>
                <a:gd name="T87" fmla="*/ 133 h 372"/>
                <a:gd name="T88" fmla="*/ 262 w 316"/>
                <a:gd name="T89" fmla="*/ 151 h 372"/>
                <a:gd name="T90" fmla="*/ 262 w 316"/>
                <a:gd name="T91" fmla="*/ 165 h 372"/>
                <a:gd name="T92" fmla="*/ 262 w 316"/>
                <a:gd name="T93" fmla="*/ 183 h 372"/>
                <a:gd name="T94" fmla="*/ 265 w 316"/>
                <a:gd name="T95" fmla="*/ 198 h 372"/>
                <a:gd name="T96" fmla="*/ 265 w 316"/>
                <a:gd name="T97" fmla="*/ 213 h 372"/>
                <a:gd name="T98" fmla="*/ 268 w 316"/>
                <a:gd name="T99" fmla="*/ 224 h 372"/>
                <a:gd name="T100" fmla="*/ 268 w 316"/>
                <a:gd name="T101" fmla="*/ 239 h 372"/>
                <a:gd name="T102" fmla="*/ 254 w 316"/>
                <a:gd name="T103" fmla="*/ 239 h 372"/>
                <a:gd name="T104" fmla="*/ 236 w 316"/>
                <a:gd name="T105" fmla="*/ 266 h 372"/>
                <a:gd name="T106" fmla="*/ 257 w 316"/>
                <a:gd name="T107" fmla="*/ 278 h 372"/>
                <a:gd name="T108" fmla="*/ 274 w 316"/>
                <a:gd name="T109" fmla="*/ 286 h 372"/>
                <a:gd name="T110" fmla="*/ 289 w 316"/>
                <a:gd name="T111" fmla="*/ 286 h 372"/>
                <a:gd name="T112" fmla="*/ 295 w 316"/>
                <a:gd name="T113" fmla="*/ 295 h 372"/>
                <a:gd name="T114" fmla="*/ 295 w 316"/>
                <a:gd name="T115" fmla="*/ 310 h 372"/>
                <a:gd name="T116" fmla="*/ 298 w 316"/>
                <a:gd name="T117" fmla="*/ 313 h 372"/>
                <a:gd name="T118" fmla="*/ 295 w 316"/>
                <a:gd name="T119" fmla="*/ 319 h 372"/>
                <a:gd name="T120" fmla="*/ 298 w 316"/>
                <a:gd name="T121" fmla="*/ 339 h 372"/>
                <a:gd name="T122" fmla="*/ 274 w 316"/>
                <a:gd name="T123" fmla="*/ 357 h 3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6"/>
                <a:gd name="T187" fmla="*/ 0 h 372"/>
                <a:gd name="T188" fmla="*/ 316 w 316"/>
                <a:gd name="T189" fmla="*/ 372 h 3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6" h="372">
                  <a:moveTo>
                    <a:pt x="274" y="357"/>
                  </a:moveTo>
                  <a:lnTo>
                    <a:pt x="268" y="357"/>
                  </a:lnTo>
                  <a:lnTo>
                    <a:pt x="265" y="357"/>
                  </a:lnTo>
                  <a:lnTo>
                    <a:pt x="265" y="354"/>
                  </a:lnTo>
                  <a:lnTo>
                    <a:pt x="262" y="357"/>
                  </a:lnTo>
                  <a:lnTo>
                    <a:pt x="257" y="357"/>
                  </a:lnTo>
                  <a:lnTo>
                    <a:pt x="254" y="357"/>
                  </a:lnTo>
                  <a:lnTo>
                    <a:pt x="251" y="357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45" y="363"/>
                  </a:lnTo>
                  <a:lnTo>
                    <a:pt x="245" y="366"/>
                  </a:lnTo>
                  <a:lnTo>
                    <a:pt x="242" y="372"/>
                  </a:lnTo>
                  <a:lnTo>
                    <a:pt x="239" y="372"/>
                  </a:lnTo>
                  <a:lnTo>
                    <a:pt x="236" y="372"/>
                  </a:lnTo>
                  <a:lnTo>
                    <a:pt x="233" y="369"/>
                  </a:lnTo>
                  <a:lnTo>
                    <a:pt x="233" y="366"/>
                  </a:lnTo>
                  <a:lnTo>
                    <a:pt x="236" y="366"/>
                  </a:lnTo>
                  <a:lnTo>
                    <a:pt x="236" y="360"/>
                  </a:lnTo>
                  <a:lnTo>
                    <a:pt x="236" y="357"/>
                  </a:lnTo>
                  <a:lnTo>
                    <a:pt x="239" y="345"/>
                  </a:lnTo>
                  <a:lnTo>
                    <a:pt x="239" y="337"/>
                  </a:lnTo>
                  <a:lnTo>
                    <a:pt x="242" y="331"/>
                  </a:lnTo>
                  <a:lnTo>
                    <a:pt x="245" y="328"/>
                  </a:lnTo>
                  <a:lnTo>
                    <a:pt x="248" y="325"/>
                  </a:lnTo>
                  <a:lnTo>
                    <a:pt x="245" y="319"/>
                  </a:lnTo>
                  <a:lnTo>
                    <a:pt x="242" y="319"/>
                  </a:lnTo>
                  <a:lnTo>
                    <a:pt x="239" y="313"/>
                  </a:lnTo>
                  <a:lnTo>
                    <a:pt x="236" y="310"/>
                  </a:lnTo>
                  <a:lnTo>
                    <a:pt x="233" y="313"/>
                  </a:lnTo>
                  <a:lnTo>
                    <a:pt x="230" y="313"/>
                  </a:lnTo>
                  <a:lnTo>
                    <a:pt x="227" y="316"/>
                  </a:lnTo>
                  <a:lnTo>
                    <a:pt x="221" y="319"/>
                  </a:lnTo>
                  <a:lnTo>
                    <a:pt x="215" y="322"/>
                  </a:lnTo>
                  <a:lnTo>
                    <a:pt x="215" y="325"/>
                  </a:lnTo>
                  <a:lnTo>
                    <a:pt x="212" y="331"/>
                  </a:lnTo>
                  <a:lnTo>
                    <a:pt x="206" y="334"/>
                  </a:lnTo>
                  <a:lnTo>
                    <a:pt x="200" y="337"/>
                  </a:lnTo>
                  <a:lnTo>
                    <a:pt x="200" y="334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195" y="325"/>
                  </a:lnTo>
                  <a:lnTo>
                    <a:pt x="195" y="322"/>
                  </a:lnTo>
                  <a:lnTo>
                    <a:pt x="198" y="319"/>
                  </a:lnTo>
                  <a:lnTo>
                    <a:pt x="195" y="319"/>
                  </a:lnTo>
                  <a:lnTo>
                    <a:pt x="192" y="316"/>
                  </a:lnTo>
                  <a:lnTo>
                    <a:pt x="189" y="319"/>
                  </a:lnTo>
                  <a:lnTo>
                    <a:pt x="186" y="316"/>
                  </a:lnTo>
                  <a:lnTo>
                    <a:pt x="186" y="313"/>
                  </a:lnTo>
                  <a:lnTo>
                    <a:pt x="180" y="313"/>
                  </a:lnTo>
                  <a:lnTo>
                    <a:pt x="180" y="316"/>
                  </a:lnTo>
                  <a:lnTo>
                    <a:pt x="180" y="319"/>
                  </a:lnTo>
                  <a:lnTo>
                    <a:pt x="183" y="322"/>
                  </a:lnTo>
                  <a:lnTo>
                    <a:pt x="180" y="325"/>
                  </a:lnTo>
                  <a:lnTo>
                    <a:pt x="177" y="325"/>
                  </a:lnTo>
                  <a:lnTo>
                    <a:pt x="165" y="325"/>
                  </a:lnTo>
                  <a:lnTo>
                    <a:pt x="165" y="328"/>
                  </a:lnTo>
                  <a:lnTo>
                    <a:pt x="165" y="334"/>
                  </a:lnTo>
                  <a:lnTo>
                    <a:pt x="165" y="337"/>
                  </a:lnTo>
                  <a:lnTo>
                    <a:pt x="165" y="342"/>
                  </a:lnTo>
                  <a:lnTo>
                    <a:pt x="168" y="348"/>
                  </a:lnTo>
                  <a:lnTo>
                    <a:pt x="165" y="351"/>
                  </a:lnTo>
                  <a:lnTo>
                    <a:pt x="162" y="351"/>
                  </a:lnTo>
                  <a:lnTo>
                    <a:pt x="159" y="348"/>
                  </a:lnTo>
                  <a:lnTo>
                    <a:pt x="156" y="348"/>
                  </a:lnTo>
                  <a:lnTo>
                    <a:pt x="153" y="345"/>
                  </a:lnTo>
                  <a:lnTo>
                    <a:pt x="150" y="345"/>
                  </a:lnTo>
                  <a:lnTo>
                    <a:pt x="144" y="345"/>
                  </a:lnTo>
                  <a:lnTo>
                    <a:pt x="141" y="339"/>
                  </a:lnTo>
                  <a:lnTo>
                    <a:pt x="138" y="337"/>
                  </a:lnTo>
                  <a:lnTo>
                    <a:pt x="141" y="337"/>
                  </a:lnTo>
                  <a:lnTo>
                    <a:pt x="144" y="334"/>
                  </a:lnTo>
                  <a:lnTo>
                    <a:pt x="144" y="331"/>
                  </a:lnTo>
                  <a:lnTo>
                    <a:pt x="144" y="325"/>
                  </a:lnTo>
                  <a:lnTo>
                    <a:pt x="150" y="325"/>
                  </a:lnTo>
                  <a:lnTo>
                    <a:pt x="150" y="322"/>
                  </a:lnTo>
                  <a:lnTo>
                    <a:pt x="147" y="319"/>
                  </a:lnTo>
                  <a:lnTo>
                    <a:pt x="141" y="319"/>
                  </a:lnTo>
                  <a:lnTo>
                    <a:pt x="144" y="316"/>
                  </a:lnTo>
                  <a:lnTo>
                    <a:pt x="150" y="313"/>
                  </a:lnTo>
                  <a:lnTo>
                    <a:pt x="153" y="310"/>
                  </a:lnTo>
                  <a:lnTo>
                    <a:pt x="153" y="307"/>
                  </a:lnTo>
                  <a:lnTo>
                    <a:pt x="147" y="304"/>
                  </a:lnTo>
                  <a:lnTo>
                    <a:pt x="150" y="301"/>
                  </a:lnTo>
                  <a:lnTo>
                    <a:pt x="147" y="298"/>
                  </a:lnTo>
                  <a:lnTo>
                    <a:pt x="141" y="295"/>
                  </a:lnTo>
                  <a:lnTo>
                    <a:pt x="141" y="289"/>
                  </a:lnTo>
                  <a:lnTo>
                    <a:pt x="138" y="286"/>
                  </a:lnTo>
                  <a:lnTo>
                    <a:pt x="136" y="286"/>
                  </a:lnTo>
                  <a:lnTo>
                    <a:pt x="130" y="286"/>
                  </a:lnTo>
                  <a:lnTo>
                    <a:pt x="124" y="283"/>
                  </a:lnTo>
                  <a:lnTo>
                    <a:pt x="124" y="280"/>
                  </a:lnTo>
                  <a:lnTo>
                    <a:pt x="124" y="275"/>
                  </a:lnTo>
                  <a:lnTo>
                    <a:pt x="121" y="275"/>
                  </a:lnTo>
                  <a:lnTo>
                    <a:pt x="118" y="272"/>
                  </a:lnTo>
                  <a:lnTo>
                    <a:pt x="115" y="269"/>
                  </a:lnTo>
                  <a:lnTo>
                    <a:pt x="112" y="263"/>
                  </a:lnTo>
                  <a:lnTo>
                    <a:pt x="109" y="260"/>
                  </a:lnTo>
                  <a:lnTo>
                    <a:pt x="106" y="251"/>
                  </a:lnTo>
                  <a:lnTo>
                    <a:pt x="103" y="242"/>
                  </a:lnTo>
                  <a:lnTo>
                    <a:pt x="103" y="236"/>
                  </a:lnTo>
                  <a:lnTo>
                    <a:pt x="100" y="233"/>
                  </a:lnTo>
                  <a:lnTo>
                    <a:pt x="100" y="227"/>
                  </a:lnTo>
                  <a:lnTo>
                    <a:pt x="100" y="219"/>
                  </a:lnTo>
                  <a:lnTo>
                    <a:pt x="100" y="210"/>
                  </a:lnTo>
                  <a:lnTo>
                    <a:pt x="97" y="207"/>
                  </a:lnTo>
                  <a:lnTo>
                    <a:pt x="91" y="204"/>
                  </a:lnTo>
                  <a:lnTo>
                    <a:pt x="91" y="198"/>
                  </a:lnTo>
                  <a:lnTo>
                    <a:pt x="88" y="198"/>
                  </a:lnTo>
                  <a:lnTo>
                    <a:pt x="88" y="195"/>
                  </a:lnTo>
                  <a:lnTo>
                    <a:pt x="91" y="189"/>
                  </a:lnTo>
                  <a:lnTo>
                    <a:pt x="94" y="186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2" y="180"/>
                  </a:lnTo>
                  <a:lnTo>
                    <a:pt x="77" y="183"/>
                  </a:lnTo>
                  <a:lnTo>
                    <a:pt x="74" y="183"/>
                  </a:lnTo>
                  <a:lnTo>
                    <a:pt x="68" y="183"/>
                  </a:lnTo>
                  <a:lnTo>
                    <a:pt x="62" y="186"/>
                  </a:lnTo>
                  <a:lnTo>
                    <a:pt x="59" y="183"/>
                  </a:lnTo>
                  <a:lnTo>
                    <a:pt x="56" y="180"/>
                  </a:lnTo>
                  <a:lnTo>
                    <a:pt x="50" y="177"/>
                  </a:lnTo>
                  <a:lnTo>
                    <a:pt x="47" y="177"/>
                  </a:lnTo>
                  <a:lnTo>
                    <a:pt x="47" y="171"/>
                  </a:lnTo>
                  <a:lnTo>
                    <a:pt x="47" y="168"/>
                  </a:lnTo>
                  <a:lnTo>
                    <a:pt x="41" y="165"/>
                  </a:lnTo>
                  <a:lnTo>
                    <a:pt x="35" y="165"/>
                  </a:lnTo>
                  <a:lnTo>
                    <a:pt x="26" y="168"/>
                  </a:lnTo>
                  <a:lnTo>
                    <a:pt x="20" y="165"/>
                  </a:lnTo>
                  <a:lnTo>
                    <a:pt x="17" y="165"/>
                  </a:lnTo>
                  <a:lnTo>
                    <a:pt x="12" y="168"/>
                  </a:lnTo>
                  <a:lnTo>
                    <a:pt x="6" y="157"/>
                  </a:lnTo>
                  <a:lnTo>
                    <a:pt x="12" y="151"/>
                  </a:lnTo>
                  <a:lnTo>
                    <a:pt x="15" y="148"/>
                  </a:lnTo>
                  <a:lnTo>
                    <a:pt x="12" y="142"/>
                  </a:lnTo>
                  <a:lnTo>
                    <a:pt x="12" y="136"/>
                  </a:lnTo>
                  <a:lnTo>
                    <a:pt x="15" y="130"/>
                  </a:lnTo>
                  <a:lnTo>
                    <a:pt x="15" y="124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6" y="112"/>
                  </a:lnTo>
                  <a:lnTo>
                    <a:pt x="9" y="109"/>
                  </a:lnTo>
                  <a:lnTo>
                    <a:pt x="9" y="100"/>
                  </a:lnTo>
                  <a:lnTo>
                    <a:pt x="12" y="100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20" y="103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32" y="98"/>
                  </a:lnTo>
                  <a:lnTo>
                    <a:pt x="44" y="100"/>
                  </a:lnTo>
                  <a:lnTo>
                    <a:pt x="50" y="103"/>
                  </a:lnTo>
                  <a:lnTo>
                    <a:pt x="50" y="106"/>
                  </a:lnTo>
                  <a:lnTo>
                    <a:pt x="53" y="109"/>
                  </a:lnTo>
                  <a:lnTo>
                    <a:pt x="56" y="112"/>
                  </a:lnTo>
                  <a:lnTo>
                    <a:pt x="59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8" y="109"/>
                  </a:lnTo>
                  <a:lnTo>
                    <a:pt x="65" y="112"/>
                  </a:lnTo>
                  <a:lnTo>
                    <a:pt x="65" y="118"/>
                  </a:lnTo>
                  <a:lnTo>
                    <a:pt x="68" y="121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4" y="130"/>
                  </a:lnTo>
                  <a:lnTo>
                    <a:pt x="74" y="136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4" y="142"/>
                  </a:lnTo>
                  <a:lnTo>
                    <a:pt x="77" y="145"/>
                  </a:lnTo>
                  <a:lnTo>
                    <a:pt x="77" y="148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2" y="148"/>
                  </a:lnTo>
                  <a:lnTo>
                    <a:pt x="82" y="142"/>
                  </a:lnTo>
                  <a:lnTo>
                    <a:pt x="85" y="139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4" y="127"/>
                  </a:lnTo>
                  <a:lnTo>
                    <a:pt x="97" y="124"/>
                  </a:lnTo>
                  <a:lnTo>
                    <a:pt x="100" y="121"/>
                  </a:lnTo>
                  <a:lnTo>
                    <a:pt x="103" y="124"/>
                  </a:lnTo>
                  <a:lnTo>
                    <a:pt x="106" y="124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5" y="130"/>
                  </a:lnTo>
                  <a:lnTo>
                    <a:pt x="121" y="130"/>
                  </a:lnTo>
                  <a:lnTo>
                    <a:pt x="127" y="130"/>
                  </a:lnTo>
                  <a:lnTo>
                    <a:pt x="136" y="130"/>
                  </a:lnTo>
                  <a:lnTo>
                    <a:pt x="144" y="130"/>
                  </a:lnTo>
                  <a:lnTo>
                    <a:pt x="147" y="136"/>
                  </a:lnTo>
                  <a:lnTo>
                    <a:pt x="153" y="133"/>
                  </a:lnTo>
                  <a:lnTo>
                    <a:pt x="159" y="130"/>
                  </a:lnTo>
                  <a:lnTo>
                    <a:pt x="165" y="127"/>
                  </a:lnTo>
                  <a:lnTo>
                    <a:pt x="168" y="121"/>
                  </a:lnTo>
                  <a:lnTo>
                    <a:pt x="171" y="121"/>
                  </a:lnTo>
                  <a:lnTo>
                    <a:pt x="171" y="124"/>
                  </a:lnTo>
                  <a:lnTo>
                    <a:pt x="174" y="121"/>
                  </a:lnTo>
                  <a:lnTo>
                    <a:pt x="177" y="121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09"/>
                  </a:lnTo>
                  <a:lnTo>
                    <a:pt x="174" y="106"/>
                  </a:lnTo>
                  <a:lnTo>
                    <a:pt x="177" y="106"/>
                  </a:lnTo>
                  <a:lnTo>
                    <a:pt x="180" y="103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80" y="86"/>
                  </a:lnTo>
                  <a:lnTo>
                    <a:pt x="183" y="89"/>
                  </a:lnTo>
                  <a:lnTo>
                    <a:pt x="189" y="92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0" y="92"/>
                  </a:lnTo>
                  <a:lnTo>
                    <a:pt x="203" y="95"/>
                  </a:lnTo>
                  <a:lnTo>
                    <a:pt x="206" y="98"/>
                  </a:lnTo>
                  <a:lnTo>
                    <a:pt x="212" y="92"/>
                  </a:lnTo>
                  <a:lnTo>
                    <a:pt x="215" y="92"/>
                  </a:lnTo>
                  <a:lnTo>
                    <a:pt x="218" y="89"/>
                  </a:lnTo>
                  <a:lnTo>
                    <a:pt x="221" y="86"/>
                  </a:lnTo>
                  <a:lnTo>
                    <a:pt x="218" y="80"/>
                  </a:lnTo>
                  <a:lnTo>
                    <a:pt x="215" y="77"/>
                  </a:lnTo>
                  <a:lnTo>
                    <a:pt x="212" y="77"/>
                  </a:lnTo>
                  <a:lnTo>
                    <a:pt x="215" y="74"/>
                  </a:lnTo>
                  <a:lnTo>
                    <a:pt x="218" y="71"/>
                  </a:lnTo>
                  <a:lnTo>
                    <a:pt x="224" y="71"/>
                  </a:lnTo>
                  <a:lnTo>
                    <a:pt x="227" y="68"/>
                  </a:lnTo>
                  <a:lnTo>
                    <a:pt x="233" y="65"/>
                  </a:lnTo>
                  <a:lnTo>
                    <a:pt x="230" y="59"/>
                  </a:lnTo>
                  <a:lnTo>
                    <a:pt x="233" y="59"/>
                  </a:lnTo>
                  <a:lnTo>
                    <a:pt x="242" y="59"/>
                  </a:lnTo>
                  <a:lnTo>
                    <a:pt x="245" y="59"/>
                  </a:lnTo>
                  <a:lnTo>
                    <a:pt x="248" y="59"/>
                  </a:lnTo>
                  <a:lnTo>
                    <a:pt x="251" y="47"/>
                  </a:lnTo>
                  <a:lnTo>
                    <a:pt x="248" y="41"/>
                  </a:lnTo>
                  <a:lnTo>
                    <a:pt x="251" y="41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2" y="30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2" y="18"/>
                  </a:lnTo>
                  <a:lnTo>
                    <a:pt x="242" y="12"/>
                  </a:lnTo>
                  <a:lnTo>
                    <a:pt x="239" y="12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42" y="0"/>
                  </a:lnTo>
                  <a:lnTo>
                    <a:pt x="245" y="0"/>
                  </a:lnTo>
                  <a:lnTo>
                    <a:pt x="248" y="3"/>
                  </a:lnTo>
                  <a:lnTo>
                    <a:pt x="251" y="6"/>
                  </a:lnTo>
                  <a:lnTo>
                    <a:pt x="257" y="9"/>
                  </a:lnTo>
                  <a:lnTo>
                    <a:pt x="257" y="12"/>
                  </a:lnTo>
                  <a:lnTo>
                    <a:pt x="259" y="15"/>
                  </a:lnTo>
                  <a:lnTo>
                    <a:pt x="262" y="18"/>
                  </a:lnTo>
                  <a:lnTo>
                    <a:pt x="262" y="21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4" y="30"/>
                  </a:lnTo>
                  <a:lnTo>
                    <a:pt x="277" y="36"/>
                  </a:lnTo>
                  <a:lnTo>
                    <a:pt x="274" y="38"/>
                  </a:lnTo>
                  <a:lnTo>
                    <a:pt x="271" y="41"/>
                  </a:lnTo>
                  <a:lnTo>
                    <a:pt x="274" y="47"/>
                  </a:lnTo>
                  <a:lnTo>
                    <a:pt x="277" y="50"/>
                  </a:lnTo>
                  <a:lnTo>
                    <a:pt x="280" y="53"/>
                  </a:lnTo>
                  <a:lnTo>
                    <a:pt x="289" y="56"/>
                  </a:lnTo>
                  <a:lnTo>
                    <a:pt x="295" y="59"/>
                  </a:lnTo>
                  <a:lnTo>
                    <a:pt x="298" y="59"/>
                  </a:lnTo>
                  <a:lnTo>
                    <a:pt x="301" y="56"/>
                  </a:lnTo>
                  <a:lnTo>
                    <a:pt x="304" y="59"/>
                  </a:lnTo>
                  <a:lnTo>
                    <a:pt x="301" y="62"/>
                  </a:lnTo>
                  <a:lnTo>
                    <a:pt x="301" y="65"/>
                  </a:lnTo>
                  <a:lnTo>
                    <a:pt x="304" y="65"/>
                  </a:lnTo>
                  <a:lnTo>
                    <a:pt x="307" y="62"/>
                  </a:lnTo>
                  <a:lnTo>
                    <a:pt x="310" y="62"/>
                  </a:lnTo>
                  <a:lnTo>
                    <a:pt x="313" y="62"/>
                  </a:lnTo>
                  <a:lnTo>
                    <a:pt x="316" y="65"/>
                  </a:lnTo>
                  <a:lnTo>
                    <a:pt x="313" y="74"/>
                  </a:lnTo>
                  <a:lnTo>
                    <a:pt x="310" y="80"/>
                  </a:lnTo>
                  <a:lnTo>
                    <a:pt x="301" y="89"/>
                  </a:lnTo>
                  <a:lnTo>
                    <a:pt x="295" y="95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80" y="103"/>
                  </a:lnTo>
                  <a:lnTo>
                    <a:pt x="280" y="109"/>
                  </a:lnTo>
                  <a:lnTo>
                    <a:pt x="277" y="109"/>
                  </a:lnTo>
                  <a:lnTo>
                    <a:pt x="277" y="112"/>
                  </a:lnTo>
                  <a:lnTo>
                    <a:pt x="277" y="115"/>
                  </a:lnTo>
                  <a:lnTo>
                    <a:pt x="274" y="118"/>
                  </a:lnTo>
                  <a:lnTo>
                    <a:pt x="274" y="121"/>
                  </a:lnTo>
                  <a:lnTo>
                    <a:pt x="274" y="124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68" y="130"/>
                  </a:lnTo>
                  <a:lnTo>
                    <a:pt x="265" y="133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9"/>
                  </a:lnTo>
                  <a:lnTo>
                    <a:pt x="268" y="142"/>
                  </a:lnTo>
                  <a:lnTo>
                    <a:pt x="265" y="145"/>
                  </a:lnTo>
                  <a:lnTo>
                    <a:pt x="265" y="148"/>
                  </a:lnTo>
                  <a:lnTo>
                    <a:pt x="262" y="151"/>
                  </a:lnTo>
                  <a:lnTo>
                    <a:pt x="262" y="154"/>
                  </a:lnTo>
                  <a:lnTo>
                    <a:pt x="262" y="157"/>
                  </a:lnTo>
                  <a:lnTo>
                    <a:pt x="265" y="157"/>
                  </a:lnTo>
                  <a:lnTo>
                    <a:pt x="265" y="159"/>
                  </a:lnTo>
                  <a:lnTo>
                    <a:pt x="262" y="159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8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5" y="177"/>
                  </a:lnTo>
                  <a:lnTo>
                    <a:pt x="265" y="180"/>
                  </a:lnTo>
                  <a:lnTo>
                    <a:pt x="262" y="180"/>
                  </a:lnTo>
                  <a:lnTo>
                    <a:pt x="262" y="183"/>
                  </a:lnTo>
                  <a:lnTo>
                    <a:pt x="265" y="183"/>
                  </a:lnTo>
                  <a:lnTo>
                    <a:pt x="265" y="186"/>
                  </a:lnTo>
                  <a:lnTo>
                    <a:pt x="265" y="189"/>
                  </a:lnTo>
                  <a:lnTo>
                    <a:pt x="265" y="192"/>
                  </a:lnTo>
                  <a:lnTo>
                    <a:pt x="262" y="192"/>
                  </a:lnTo>
                  <a:lnTo>
                    <a:pt x="262" y="195"/>
                  </a:lnTo>
                  <a:lnTo>
                    <a:pt x="265" y="198"/>
                  </a:lnTo>
                  <a:lnTo>
                    <a:pt x="265" y="201"/>
                  </a:lnTo>
                  <a:lnTo>
                    <a:pt x="265" y="204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2" y="210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6"/>
                  </a:lnTo>
                  <a:lnTo>
                    <a:pt x="265" y="219"/>
                  </a:lnTo>
                  <a:lnTo>
                    <a:pt x="268" y="219"/>
                  </a:lnTo>
                  <a:lnTo>
                    <a:pt x="268" y="221"/>
                  </a:lnTo>
                  <a:lnTo>
                    <a:pt x="268" y="224"/>
                  </a:lnTo>
                  <a:lnTo>
                    <a:pt x="265" y="224"/>
                  </a:lnTo>
                  <a:lnTo>
                    <a:pt x="268" y="224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30"/>
                  </a:lnTo>
                  <a:lnTo>
                    <a:pt x="271" y="233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9"/>
                  </a:lnTo>
                  <a:lnTo>
                    <a:pt x="271" y="239"/>
                  </a:lnTo>
                  <a:lnTo>
                    <a:pt x="271" y="242"/>
                  </a:lnTo>
                  <a:lnTo>
                    <a:pt x="268" y="245"/>
                  </a:lnTo>
                  <a:lnTo>
                    <a:pt x="268" y="242"/>
                  </a:lnTo>
                  <a:lnTo>
                    <a:pt x="265" y="239"/>
                  </a:lnTo>
                  <a:lnTo>
                    <a:pt x="259" y="239"/>
                  </a:lnTo>
                  <a:lnTo>
                    <a:pt x="254" y="239"/>
                  </a:lnTo>
                  <a:lnTo>
                    <a:pt x="248" y="242"/>
                  </a:lnTo>
                  <a:lnTo>
                    <a:pt x="245" y="248"/>
                  </a:lnTo>
                  <a:lnTo>
                    <a:pt x="245" y="251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39" y="263"/>
                  </a:lnTo>
                  <a:lnTo>
                    <a:pt x="236" y="266"/>
                  </a:lnTo>
                  <a:lnTo>
                    <a:pt x="236" y="272"/>
                  </a:lnTo>
                  <a:lnTo>
                    <a:pt x="236" y="275"/>
                  </a:lnTo>
                  <a:lnTo>
                    <a:pt x="239" y="278"/>
                  </a:lnTo>
                  <a:lnTo>
                    <a:pt x="245" y="278"/>
                  </a:lnTo>
                  <a:lnTo>
                    <a:pt x="248" y="278"/>
                  </a:lnTo>
                  <a:lnTo>
                    <a:pt x="251" y="278"/>
                  </a:lnTo>
                  <a:lnTo>
                    <a:pt x="257" y="278"/>
                  </a:lnTo>
                  <a:lnTo>
                    <a:pt x="259" y="278"/>
                  </a:lnTo>
                  <a:lnTo>
                    <a:pt x="262" y="283"/>
                  </a:lnTo>
                  <a:lnTo>
                    <a:pt x="265" y="286"/>
                  </a:lnTo>
                  <a:lnTo>
                    <a:pt x="265" y="289"/>
                  </a:lnTo>
                  <a:lnTo>
                    <a:pt x="268" y="289"/>
                  </a:lnTo>
                  <a:lnTo>
                    <a:pt x="274" y="289"/>
                  </a:lnTo>
                  <a:lnTo>
                    <a:pt x="274" y="286"/>
                  </a:lnTo>
                  <a:lnTo>
                    <a:pt x="277" y="283"/>
                  </a:lnTo>
                  <a:lnTo>
                    <a:pt x="280" y="280"/>
                  </a:lnTo>
                  <a:lnTo>
                    <a:pt x="283" y="278"/>
                  </a:lnTo>
                  <a:lnTo>
                    <a:pt x="286" y="280"/>
                  </a:lnTo>
                  <a:lnTo>
                    <a:pt x="286" y="283"/>
                  </a:lnTo>
                  <a:lnTo>
                    <a:pt x="289" y="283"/>
                  </a:lnTo>
                  <a:lnTo>
                    <a:pt x="289" y="286"/>
                  </a:lnTo>
                  <a:lnTo>
                    <a:pt x="292" y="286"/>
                  </a:lnTo>
                  <a:lnTo>
                    <a:pt x="295" y="286"/>
                  </a:lnTo>
                  <a:lnTo>
                    <a:pt x="295" y="289"/>
                  </a:lnTo>
                  <a:lnTo>
                    <a:pt x="295" y="292"/>
                  </a:lnTo>
                  <a:lnTo>
                    <a:pt x="298" y="292"/>
                  </a:lnTo>
                  <a:lnTo>
                    <a:pt x="298" y="295"/>
                  </a:lnTo>
                  <a:lnTo>
                    <a:pt x="295" y="295"/>
                  </a:lnTo>
                  <a:lnTo>
                    <a:pt x="295" y="298"/>
                  </a:lnTo>
                  <a:lnTo>
                    <a:pt x="295" y="301"/>
                  </a:lnTo>
                  <a:lnTo>
                    <a:pt x="295" y="304"/>
                  </a:lnTo>
                  <a:lnTo>
                    <a:pt x="298" y="301"/>
                  </a:lnTo>
                  <a:lnTo>
                    <a:pt x="298" y="304"/>
                  </a:lnTo>
                  <a:lnTo>
                    <a:pt x="295" y="307"/>
                  </a:lnTo>
                  <a:lnTo>
                    <a:pt x="295" y="310"/>
                  </a:lnTo>
                  <a:lnTo>
                    <a:pt x="298" y="307"/>
                  </a:lnTo>
                  <a:lnTo>
                    <a:pt x="298" y="310"/>
                  </a:lnTo>
                  <a:lnTo>
                    <a:pt x="301" y="310"/>
                  </a:lnTo>
                  <a:lnTo>
                    <a:pt x="301" y="307"/>
                  </a:lnTo>
                  <a:lnTo>
                    <a:pt x="301" y="310"/>
                  </a:lnTo>
                  <a:lnTo>
                    <a:pt x="301" y="313"/>
                  </a:lnTo>
                  <a:lnTo>
                    <a:pt x="298" y="313"/>
                  </a:lnTo>
                  <a:lnTo>
                    <a:pt x="298" y="316"/>
                  </a:lnTo>
                  <a:lnTo>
                    <a:pt x="301" y="316"/>
                  </a:lnTo>
                  <a:lnTo>
                    <a:pt x="304" y="316"/>
                  </a:lnTo>
                  <a:lnTo>
                    <a:pt x="301" y="316"/>
                  </a:lnTo>
                  <a:lnTo>
                    <a:pt x="301" y="319"/>
                  </a:lnTo>
                  <a:lnTo>
                    <a:pt x="298" y="319"/>
                  </a:lnTo>
                  <a:lnTo>
                    <a:pt x="295" y="319"/>
                  </a:lnTo>
                  <a:lnTo>
                    <a:pt x="298" y="322"/>
                  </a:lnTo>
                  <a:lnTo>
                    <a:pt x="298" y="325"/>
                  </a:lnTo>
                  <a:lnTo>
                    <a:pt x="295" y="325"/>
                  </a:lnTo>
                  <a:lnTo>
                    <a:pt x="295" y="328"/>
                  </a:lnTo>
                  <a:lnTo>
                    <a:pt x="295" y="331"/>
                  </a:lnTo>
                  <a:lnTo>
                    <a:pt x="298" y="334"/>
                  </a:lnTo>
                  <a:lnTo>
                    <a:pt x="298" y="339"/>
                  </a:lnTo>
                  <a:lnTo>
                    <a:pt x="301" y="339"/>
                  </a:lnTo>
                  <a:lnTo>
                    <a:pt x="301" y="342"/>
                  </a:lnTo>
                  <a:lnTo>
                    <a:pt x="295" y="345"/>
                  </a:lnTo>
                  <a:lnTo>
                    <a:pt x="292" y="348"/>
                  </a:lnTo>
                  <a:lnTo>
                    <a:pt x="283" y="351"/>
                  </a:lnTo>
                  <a:lnTo>
                    <a:pt x="280" y="354"/>
                  </a:lnTo>
                  <a:lnTo>
                    <a:pt x="274" y="35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Freeform 12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305851" y="1439598"/>
              <a:ext cx="8261" cy="8874"/>
            </a:xfrm>
            <a:custGeom>
              <a:avLst/>
              <a:gdLst>
                <a:gd name="T0" fmla="*/ 47 w 50"/>
                <a:gd name="T1" fmla="*/ 39 h 50"/>
                <a:gd name="T2" fmla="*/ 44 w 50"/>
                <a:gd name="T3" fmla="*/ 41 h 50"/>
                <a:gd name="T4" fmla="*/ 41 w 50"/>
                <a:gd name="T5" fmla="*/ 44 h 50"/>
                <a:gd name="T6" fmla="*/ 38 w 50"/>
                <a:gd name="T7" fmla="*/ 47 h 50"/>
                <a:gd name="T8" fmla="*/ 38 w 50"/>
                <a:gd name="T9" fmla="*/ 50 h 50"/>
                <a:gd name="T10" fmla="*/ 32 w 50"/>
                <a:gd name="T11" fmla="*/ 50 h 50"/>
                <a:gd name="T12" fmla="*/ 29 w 50"/>
                <a:gd name="T13" fmla="*/ 50 h 50"/>
                <a:gd name="T14" fmla="*/ 29 w 50"/>
                <a:gd name="T15" fmla="*/ 47 h 50"/>
                <a:gd name="T16" fmla="*/ 26 w 50"/>
                <a:gd name="T17" fmla="*/ 44 h 50"/>
                <a:gd name="T18" fmla="*/ 23 w 50"/>
                <a:gd name="T19" fmla="*/ 39 h 50"/>
                <a:gd name="T20" fmla="*/ 21 w 50"/>
                <a:gd name="T21" fmla="*/ 39 h 50"/>
                <a:gd name="T22" fmla="*/ 15 w 50"/>
                <a:gd name="T23" fmla="*/ 39 h 50"/>
                <a:gd name="T24" fmla="*/ 12 w 50"/>
                <a:gd name="T25" fmla="*/ 39 h 50"/>
                <a:gd name="T26" fmla="*/ 9 w 50"/>
                <a:gd name="T27" fmla="*/ 39 h 50"/>
                <a:gd name="T28" fmla="*/ 3 w 50"/>
                <a:gd name="T29" fmla="*/ 39 h 50"/>
                <a:gd name="T30" fmla="*/ 0 w 50"/>
                <a:gd name="T31" fmla="*/ 36 h 50"/>
                <a:gd name="T32" fmla="*/ 0 w 50"/>
                <a:gd name="T33" fmla="*/ 33 h 50"/>
                <a:gd name="T34" fmla="*/ 0 w 50"/>
                <a:gd name="T35" fmla="*/ 27 h 50"/>
                <a:gd name="T36" fmla="*/ 3 w 50"/>
                <a:gd name="T37" fmla="*/ 24 h 50"/>
                <a:gd name="T38" fmla="*/ 9 w 50"/>
                <a:gd name="T39" fmla="*/ 21 h 50"/>
                <a:gd name="T40" fmla="*/ 9 w 50"/>
                <a:gd name="T41" fmla="*/ 18 h 50"/>
                <a:gd name="T42" fmla="*/ 9 w 50"/>
                <a:gd name="T43" fmla="*/ 12 h 50"/>
                <a:gd name="T44" fmla="*/ 9 w 50"/>
                <a:gd name="T45" fmla="*/ 9 h 50"/>
                <a:gd name="T46" fmla="*/ 12 w 50"/>
                <a:gd name="T47" fmla="*/ 3 h 50"/>
                <a:gd name="T48" fmla="*/ 18 w 50"/>
                <a:gd name="T49" fmla="*/ 0 h 50"/>
                <a:gd name="T50" fmla="*/ 23 w 50"/>
                <a:gd name="T51" fmla="*/ 0 h 50"/>
                <a:gd name="T52" fmla="*/ 29 w 50"/>
                <a:gd name="T53" fmla="*/ 0 h 50"/>
                <a:gd name="T54" fmla="*/ 32 w 50"/>
                <a:gd name="T55" fmla="*/ 3 h 50"/>
                <a:gd name="T56" fmla="*/ 32 w 50"/>
                <a:gd name="T57" fmla="*/ 6 h 50"/>
                <a:gd name="T58" fmla="*/ 41 w 50"/>
                <a:gd name="T59" fmla="*/ 12 h 50"/>
                <a:gd name="T60" fmla="*/ 47 w 50"/>
                <a:gd name="T61" fmla="*/ 15 h 50"/>
                <a:gd name="T62" fmla="*/ 50 w 50"/>
                <a:gd name="T63" fmla="*/ 21 h 50"/>
                <a:gd name="T64" fmla="*/ 50 w 50"/>
                <a:gd name="T65" fmla="*/ 24 h 50"/>
                <a:gd name="T66" fmla="*/ 50 w 50"/>
                <a:gd name="T67" fmla="*/ 27 h 50"/>
                <a:gd name="T68" fmla="*/ 47 w 50"/>
                <a:gd name="T69" fmla="*/ 30 h 50"/>
                <a:gd name="T70" fmla="*/ 44 w 50"/>
                <a:gd name="T71" fmla="*/ 36 h 50"/>
                <a:gd name="T72" fmla="*/ 44 w 50"/>
                <a:gd name="T73" fmla="*/ 39 h 50"/>
                <a:gd name="T74" fmla="*/ 47 w 50"/>
                <a:gd name="T75" fmla="*/ 39 h 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0"/>
                <a:gd name="T116" fmla="*/ 50 w 50"/>
                <a:gd name="T117" fmla="*/ 50 h 5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0">
                  <a:moveTo>
                    <a:pt x="47" y="39"/>
                  </a:moveTo>
                  <a:lnTo>
                    <a:pt x="44" y="41"/>
                  </a:lnTo>
                  <a:lnTo>
                    <a:pt x="41" y="44"/>
                  </a:lnTo>
                  <a:lnTo>
                    <a:pt x="38" y="47"/>
                  </a:lnTo>
                  <a:lnTo>
                    <a:pt x="38" y="50"/>
                  </a:lnTo>
                  <a:lnTo>
                    <a:pt x="32" y="50"/>
                  </a:lnTo>
                  <a:lnTo>
                    <a:pt x="29" y="50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3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41" y="12"/>
                  </a:lnTo>
                  <a:lnTo>
                    <a:pt x="47" y="15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4" y="36"/>
                  </a:lnTo>
                  <a:lnTo>
                    <a:pt x="44" y="39"/>
                  </a:lnTo>
                  <a:lnTo>
                    <a:pt x="47" y="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0" name="Freeform 1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178131" y="1409249"/>
              <a:ext cx="150687" cy="143045"/>
            </a:xfrm>
            <a:custGeom>
              <a:avLst/>
              <a:gdLst>
                <a:gd name="T0" fmla="*/ 115 w 912"/>
                <a:gd name="T1" fmla="*/ 531 h 806"/>
                <a:gd name="T2" fmla="*/ 103 w 912"/>
                <a:gd name="T3" fmla="*/ 475 h 806"/>
                <a:gd name="T4" fmla="*/ 56 w 912"/>
                <a:gd name="T5" fmla="*/ 454 h 806"/>
                <a:gd name="T6" fmla="*/ 65 w 912"/>
                <a:gd name="T7" fmla="*/ 404 h 806"/>
                <a:gd name="T8" fmla="*/ 44 w 912"/>
                <a:gd name="T9" fmla="*/ 372 h 806"/>
                <a:gd name="T10" fmla="*/ 0 w 912"/>
                <a:gd name="T11" fmla="*/ 348 h 806"/>
                <a:gd name="T12" fmla="*/ 29 w 912"/>
                <a:gd name="T13" fmla="*/ 289 h 806"/>
                <a:gd name="T14" fmla="*/ 85 w 912"/>
                <a:gd name="T15" fmla="*/ 230 h 806"/>
                <a:gd name="T16" fmla="*/ 135 w 912"/>
                <a:gd name="T17" fmla="*/ 233 h 806"/>
                <a:gd name="T18" fmla="*/ 186 w 912"/>
                <a:gd name="T19" fmla="*/ 245 h 806"/>
                <a:gd name="T20" fmla="*/ 271 w 912"/>
                <a:gd name="T21" fmla="*/ 210 h 806"/>
                <a:gd name="T22" fmla="*/ 318 w 912"/>
                <a:gd name="T23" fmla="*/ 151 h 806"/>
                <a:gd name="T24" fmla="*/ 369 w 912"/>
                <a:gd name="T25" fmla="*/ 127 h 806"/>
                <a:gd name="T26" fmla="*/ 416 w 912"/>
                <a:gd name="T27" fmla="*/ 68 h 806"/>
                <a:gd name="T28" fmla="*/ 475 w 912"/>
                <a:gd name="T29" fmla="*/ 12 h 806"/>
                <a:gd name="T30" fmla="*/ 537 w 912"/>
                <a:gd name="T31" fmla="*/ 53 h 806"/>
                <a:gd name="T32" fmla="*/ 584 w 912"/>
                <a:gd name="T33" fmla="*/ 100 h 806"/>
                <a:gd name="T34" fmla="*/ 625 w 912"/>
                <a:gd name="T35" fmla="*/ 130 h 806"/>
                <a:gd name="T36" fmla="*/ 661 w 912"/>
                <a:gd name="T37" fmla="*/ 207 h 806"/>
                <a:gd name="T38" fmla="*/ 684 w 912"/>
                <a:gd name="T39" fmla="*/ 251 h 806"/>
                <a:gd name="T40" fmla="*/ 705 w 912"/>
                <a:gd name="T41" fmla="*/ 280 h 806"/>
                <a:gd name="T42" fmla="*/ 732 w 912"/>
                <a:gd name="T43" fmla="*/ 251 h 806"/>
                <a:gd name="T44" fmla="*/ 773 w 912"/>
                <a:gd name="T45" fmla="*/ 242 h 806"/>
                <a:gd name="T46" fmla="*/ 779 w 912"/>
                <a:gd name="T47" fmla="*/ 304 h 806"/>
                <a:gd name="T48" fmla="*/ 820 w 912"/>
                <a:gd name="T49" fmla="*/ 307 h 806"/>
                <a:gd name="T50" fmla="*/ 841 w 912"/>
                <a:gd name="T51" fmla="*/ 369 h 806"/>
                <a:gd name="T52" fmla="*/ 826 w 912"/>
                <a:gd name="T53" fmla="*/ 407 h 806"/>
                <a:gd name="T54" fmla="*/ 909 w 912"/>
                <a:gd name="T55" fmla="*/ 392 h 806"/>
                <a:gd name="T56" fmla="*/ 894 w 912"/>
                <a:gd name="T57" fmla="*/ 413 h 806"/>
                <a:gd name="T58" fmla="*/ 864 w 912"/>
                <a:gd name="T59" fmla="*/ 431 h 806"/>
                <a:gd name="T60" fmla="*/ 832 w 912"/>
                <a:gd name="T61" fmla="*/ 446 h 806"/>
                <a:gd name="T62" fmla="*/ 802 w 912"/>
                <a:gd name="T63" fmla="*/ 463 h 806"/>
                <a:gd name="T64" fmla="*/ 764 w 912"/>
                <a:gd name="T65" fmla="*/ 484 h 806"/>
                <a:gd name="T66" fmla="*/ 735 w 912"/>
                <a:gd name="T67" fmla="*/ 502 h 806"/>
                <a:gd name="T68" fmla="*/ 720 w 912"/>
                <a:gd name="T69" fmla="*/ 528 h 806"/>
                <a:gd name="T70" fmla="*/ 746 w 912"/>
                <a:gd name="T71" fmla="*/ 570 h 806"/>
                <a:gd name="T72" fmla="*/ 808 w 912"/>
                <a:gd name="T73" fmla="*/ 575 h 806"/>
                <a:gd name="T74" fmla="*/ 761 w 912"/>
                <a:gd name="T75" fmla="*/ 602 h 806"/>
                <a:gd name="T76" fmla="*/ 761 w 912"/>
                <a:gd name="T77" fmla="*/ 634 h 806"/>
                <a:gd name="T78" fmla="*/ 761 w 912"/>
                <a:gd name="T79" fmla="*/ 667 h 806"/>
                <a:gd name="T80" fmla="*/ 749 w 912"/>
                <a:gd name="T81" fmla="*/ 705 h 806"/>
                <a:gd name="T82" fmla="*/ 681 w 912"/>
                <a:gd name="T83" fmla="*/ 693 h 806"/>
                <a:gd name="T84" fmla="*/ 631 w 912"/>
                <a:gd name="T85" fmla="*/ 729 h 806"/>
                <a:gd name="T86" fmla="*/ 619 w 912"/>
                <a:gd name="T87" fmla="*/ 711 h 806"/>
                <a:gd name="T88" fmla="*/ 643 w 912"/>
                <a:gd name="T89" fmla="*/ 661 h 806"/>
                <a:gd name="T90" fmla="*/ 619 w 912"/>
                <a:gd name="T91" fmla="*/ 632 h 806"/>
                <a:gd name="T92" fmla="*/ 596 w 912"/>
                <a:gd name="T93" fmla="*/ 614 h 806"/>
                <a:gd name="T94" fmla="*/ 578 w 912"/>
                <a:gd name="T95" fmla="*/ 593 h 806"/>
                <a:gd name="T96" fmla="*/ 537 w 912"/>
                <a:gd name="T97" fmla="*/ 620 h 806"/>
                <a:gd name="T98" fmla="*/ 528 w 912"/>
                <a:gd name="T99" fmla="*/ 640 h 806"/>
                <a:gd name="T100" fmla="*/ 546 w 912"/>
                <a:gd name="T101" fmla="*/ 708 h 806"/>
                <a:gd name="T102" fmla="*/ 493 w 912"/>
                <a:gd name="T103" fmla="*/ 776 h 806"/>
                <a:gd name="T104" fmla="*/ 475 w 912"/>
                <a:gd name="T105" fmla="*/ 803 h 806"/>
                <a:gd name="T106" fmla="*/ 431 w 912"/>
                <a:gd name="T107" fmla="*/ 773 h 806"/>
                <a:gd name="T108" fmla="*/ 398 w 912"/>
                <a:gd name="T109" fmla="*/ 738 h 806"/>
                <a:gd name="T110" fmla="*/ 377 w 912"/>
                <a:gd name="T111" fmla="*/ 688 h 806"/>
                <a:gd name="T112" fmla="*/ 351 w 912"/>
                <a:gd name="T113" fmla="*/ 649 h 806"/>
                <a:gd name="T114" fmla="*/ 301 w 912"/>
                <a:gd name="T115" fmla="*/ 634 h 806"/>
                <a:gd name="T116" fmla="*/ 271 w 912"/>
                <a:gd name="T117" fmla="*/ 620 h 806"/>
                <a:gd name="T118" fmla="*/ 212 w 912"/>
                <a:gd name="T119" fmla="*/ 608 h 80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12"/>
                <a:gd name="T181" fmla="*/ 0 h 806"/>
                <a:gd name="T182" fmla="*/ 912 w 912"/>
                <a:gd name="T183" fmla="*/ 806 h 80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12" h="806">
                  <a:moveTo>
                    <a:pt x="141" y="596"/>
                  </a:moveTo>
                  <a:lnTo>
                    <a:pt x="138" y="593"/>
                  </a:lnTo>
                  <a:lnTo>
                    <a:pt x="138" y="590"/>
                  </a:lnTo>
                  <a:lnTo>
                    <a:pt x="135" y="587"/>
                  </a:lnTo>
                  <a:lnTo>
                    <a:pt x="135" y="584"/>
                  </a:lnTo>
                  <a:lnTo>
                    <a:pt x="135" y="581"/>
                  </a:lnTo>
                  <a:lnTo>
                    <a:pt x="132" y="578"/>
                  </a:lnTo>
                  <a:lnTo>
                    <a:pt x="130" y="572"/>
                  </a:lnTo>
                  <a:lnTo>
                    <a:pt x="130" y="570"/>
                  </a:lnTo>
                  <a:lnTo>
                    <a:pt x="127" y="561"/>
                  </a:lnTo>
                  <a:lnTo>
                    <a:pt x="124" y="555"/>
                  </a:lnTo>
                  <a:lnTo>
                    <a:pt x="124" y="549"/>
                  </a:lnTo>
                  <a:lnTo>
                    <a:pt x="124" y="546"/>
                  </a:lnTo>
                  <a:lnTo>
                    <a:pt x="124" y="543"/>
                  </a:lnTo>
                  <a:lnTo>
                    <a:pt x="121" y="540"/>
                  </a:lnTo>
                  <a:lnTo>
                    <a:pt x="115" y="531"/>
                  </a:lnTo>
                  <a:lnTo>
                    <a:pt x="112" y="528"/>
                  </a:lnTo>
                  <a:lnTo>
                    <a:pt x="112" y="525"/>
                  </a:lnTo>
                  <a:lnTo>
                    <a:pt x="112" y="522"/>
                  </a:lnTo>
                  <a:lnTo>
                    <a:pt x="109" y="516"/>
                  </a:lnTo>
                  <a:lnTo>
                    <a:pt x="103" y="513"/>
                  </a:lnTo>
                  <a:lnTo>
                    <a:pt x="103" y="511"/>
                  </a:lnTo>
                  <a:lnTo>
                    <a:pt x="106" y="508"/>
                  </a:lnTo>
                  <a:lnTo>
                    <a:pt x="106" y="502"/>
                  </a:lnTo>
                  <a:lnTo>
                    <a:pt x="106" y="496"/>
                  </a:lnTo>
                  <a:lnTo>
                    <a:pt x="106" y="493"/>
                  </a:lnTo>
                  <a:lnTo>
                    <a:pt x="106" y="490"/>
                  </a:lnTo>
                  <a:lnTo>
                    <a:pt x="109" y="484"/>
                  </a:lnTo>
                  <a:lnTo>
                    <a:pt x="109" y="481"/>
                  </a:lnTo>
                  <a:lnTo>
                    <a:pt x="106" y="478"/>
                  </a:lnTo>
                  <a:lnTo>
                    <a:pt x="106" y="475"/>
                  </a:lnTo>
                  <a:lnTo>
                    <a:pt x="103" y="475"/>
                  </a:lnTo>
                  <a:lnTo>
                    <a:pt x="100" y="475"/>
                  </a:lnTo>
                  <a:lnTo>
                    <a:pt x="97" y="475"/>
                  </a:lnTo>
                  <a:lnTo>
                    <a:pt x="97" y="478"/>
                  </a:lnTo>
                  <a:lnTo>
                    <a:pt x="94" y="478"/>
                  </a:lnTo>
                  <a:lnTo>
                    <a:pt x="88" y="478"/>
                  </a:lnTo>
                  <a:lnTo>
                    <a:pt x="82" y="478"/>
                  </a:lnTo>
                  <a:lnTo>
                    <a:pt x="79" y="478"/>
                  </a:lnTo>
                  <a:lnTo>
                    <a:pt x="76" y="478"/>
                  </a:lnTo>
                  <a:lnTo>
                    <a:pt x="73" y="475"/>
                  </a:lnTo>
                  <a:lnTo>
                    <a:pt x="70" y="475"/>
                  </a:lnTo>
                  <a:lnTo>
                    <a:pt x="68" y="472"/>
                  </a:lnTo>
                  <a:lnTo>
                    <a:pt x="65" y="469"/>
                  </a:lnTo>
                  <a:lnTo>
                    <a:pt x="65" y="466"/>
                  </a:lnTo>
                  <a:lnTo>
                    <a:pt x="62" y="463"/>
                  </a:lnTo>
                  <a:lnTo>
                    <a:pt x="62" y="460"/>
                  </a:lnTo>
                  <a:lnTo>
                    <a:pt x="56" y="454"/>
                  </a:lnTo>
                  <a:lnTo>
                    <a:pt x="56" y="451"/>
                  </a:lnTo>
                  <a:lnTo>
                    <a:pt x="53" y="446"/>
                  </a:lnTo>
                  <a:lnTo>
                    <a:pt x="50" y="446"/>
                  </a:lnTo>
                  <a:lnTo>
                    <a:pt x="50" y="443"/>
                  </a:lnTo>
                  <a:lnTo>
                    <a:pt x="53" y="440"/>
                  </a:lnTo>
                  <a:lnTo>
                    <a:pt x="53" y="434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5"/>
                  </a:lnTo>
                  <a:lnTo>
                    <a:pt x="56" y="422"/>
                  </a:lnTo>
                  <a:lnTo>
                    <a:pt x="59" y="419"/>
                  </a:lnTo>
                  <a:lnTo>
                    <a:pt x="62" y="416"/>
                  </a:lnTo>
                  <a:lnTo>
                    <a:pt x="62" y="410"/>
                  </a:lnTo>
                  <a:lnTo>
                    <a:pt x="62" y="407"/>
                  </a:lnTo>
                  <a:lnTo>
                    <a:pt x="65" y="404"/>
                  </a:lnTo>
                  <a:lnTo>
                    <a:pt x="65" y="401"/>
                  </a:lnTo>
                  <a:lnTo>
                    <a:pt x="65" y="398"/>
                  </a:lnTo>
                  <a:lnTo>
                    <a:pt x="65" y="395"/>
                  </a:lnTo>
                  <a:lnTo>
                    <a:pt x="65" y="392"/>
                  </a:lnTo>
                  <a:lnTo>
                    <a:pt x="65" y="390"/>
                  </a:lnTo>
                  <a:lnTo>
                    <a:pt x="68" y="387"/>
                  </a:lnTo>
                  <a:lnTo>
                    <a:pt x="68" y="384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5" y="375"/>
                  </a:lnTo>
                  <a:lnTo>
                    <a:pt x="62" y="372"/>
                  </a:lnTo>
                  <a:lnTo>
                    <a:pt x="59" y="372"/>
                  </a:lnTo>
                  <a:lnTo>
                    <a:pt x="56" y="372"/>
                  </a:lnTo>
                  <a:lnTo>
                    <a:pt x="53" y="369"/>
                  </a:lnTo>
                  <a:lnTo>
                    <a:pt x="50" y="372"/>
                  </a:lnTo>
                  <a:lnTo>
                    <a:pt x="44" y="372"/>
                  </a:lnTo>
                  <a:lnTo>
                    <a:pt x="41" y="372"/>
                  </a:lnTo>
                  <a:lnTo>
                    <a:pt x="38" y="372"/>
                  </a:lnTo>
                  <a:lnTo>
                    <a:pt x="35" y="369"/>
                  </a:lnTo>
                  <a:lnTo>
                    <a:pt x="32" y="369"/>
                  </a:lnTo>
                  <a:lnTo>
                    <a:pt x="29" y="369"/>
                  </a:lnTo>
                  <a:lnTo>
                    <a:pt x="29" y="366"/>
                  </a:lnTo>
                  <a:lnTo>
                    <a:pt x="26" y="366"/>
                  </a:lnTo>
                  <a:lnTo>
                    <a:pt x="23" y="363"/>
                  </a:lnTo>
                  <a:lnTo>
                    <a:pt x="20" y="360"/>
                  </a:lnTo>
                  <a:lnTo>
                    <a:pt x="17" y="357"/>
                  </a:lnTo>
                  <a:lnTo>
                    <a:pt x="11" y="354"/>
                  </a:lnTo>
                  <a:lnTo>
                    <a:pt x="9" y="354"/>
                  </a:lnTo>
                  <a:lnTo>
                    <a:pt x="9" y="351"/>
                  </a:lnTo>
                  <a:lnTo>
                    <a:pt x="6" y="351"/>
                  </a:lnTo>
                  <a:lnTo>
                    <a:pt x="3" y="348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31"/>
                  </a:lnTo>
                  <a:lnTo>
                    <a:pt x="3" y="325"/>
                  </a:lnTo>
                  <a:lnTo>
                    <a:pt x="6" y="319"/>
                  </a:lnTo>
                  <a:lnTo>
                    <a:pt x="6" y="316"/>
                  </a:lnTo>
                  <a:lnTo>
                    <a:pt x="9" y="313"/>
                  </a:lnTo>
                  <a:lnTo>
                    <a:pt x="9" y="310"/>
                  </a:lnTo>
                  <a:lnTo>
                    <a:pt x="11" y="307"/>
                  </a:lnTo>
                  <a:lnTo>
                    <a:pt x="11" y="304"/>
                  </a:lnTo>
                  <a:lnTo>
                    <a:pt x="14" y="301"/>
                  </a:lnTo>
                  <a:lnTo>
                    <a:pt x="17" y="298"/>
                  </a:lnTo>
                  <a:lnTo>
                    <a:pt x="23" y="292"/>
                  </a:lnTo>
                  <a:lnTo>
                    <a:pt x="26" y="289"/>
                  </a:lnTo>
                  <a:lnTo>
                    <a:pt x="29" y="289"/>
                  </a:lnTo>
                  <a:lnTo>
                    <a:pt x="35" y="286"/>
                  </a:lnTo>
                  <a:lnTo>
                    <a:pt x="41" y="283"/>
                  </a:lnTo>
                  <a:lnTo>
                    <a:pt x="41" y="280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0" y="271"/>
                  </a:lnTo>
                  <a:lnTo>
                    <a:pt x="53" y="269"/>
                  </a:lnTo>
                  <a:lnTo>
                    <a:pt x="56" y="269"/>
                  </a:lnTo>
                  <a:lnTo>
                    <a:pt x="62" y="263"/>
                  </a:lnTo>
                  <a:lnTo>
                    <a:pt x="65" y="263"/>
                  </a:lnTo>
                  <a:lnTo>
                    <a:pt x="65" y="260"/>
                  </a:lnTo>
                  <a:lnTo>
                    <a:pt x="68" y="254"/>
                  </a:lnTo>
                  <a:lnTo>
                    <a:pt x="73" y="245"/>
                  </a:lnTo>
                  <a:lnTo>
                    <a:pt x="76" y="239"/>
                  </a:lnTo>
                  <a:lnTo>
                    <a:pt x="82" y="233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4"/>
                  </a:lnTo>
                  <a:lnTo>
                    <a:pt x="97" y="221"/>
                  </a:lnTo>
                  <a:lnTo>
                    <a:pt x="100" y="218"/>
                  </a:lnTo>
                  <a:lnTo>
                    <a:pt x="106" y="215"/>
                  </a:lnTo>
                  <a:lnTo>
                    <a:pt x="109" y="215"/>
                  </a:lnTo>
                  <a:lnTo>
                    <a:pt x="112" y="215"/>
                  </a:lnTo>
                  <a:lnTo>
                    <a:pt x="115" y="215"/>
                  </a:lnTo>
                  <a:lnTo>
                    <a:pt x="118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30" y="221"/>
                  </a:lnTo>
                  <a:lnTo>
                    <a:pt x="130" y="224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39"/>
                  </a:lnTo>
                  <a:lnTo>
                    <a:pt x="135" y="242"/>
                  </a:lnTo>
                  <a:lnTo>
                    <a:pt x="138" y="245"/>
                  </a:lnTo>
                  <a:lnTo>
                    <a:pt x="138" y="248"/>
                  </a:lnTo>
                  <a:lnTo>
                    <a:pt x="138" y="251"/>
                  </a:lnTo>
                  <a:lnTo>
                    <a:pt x="141" y="251"/>
                  </a:lnTo>
                  <a:lnTo>
                    <a:pt x="141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3" y="254"/>
                  </a:lnTo>
                  <a:lnTo>
                    <a:pt x="156" y="254"/>
                  </a:lnTo>
                  <a:lnTo>
                    <a:pt x="159" y="254"/>
                  </a:lnTo>
                  <a:lnTo>
                    <a:pt x="168" y="251"/>
                  </a:lnTo>
                  <a:lnTo>
                    <a:pt x="177" y="248"/>
                  </a:lnTo>
                  <a:lnTo>
                    <a:pt x="186" y="245"/>
                  </a:lnTo>
                  <a:lnTo>
                    <a:pt x="191" y="242"/>
                  </a:lnTo>
                  <a:lnTo>
                    <a:pt x="194" y="242"/>
                  </a:lnTo>
                  <a:lnTo>
                    <a:pt x="203" y="242"/>
                  </a:lnTo>
                  <a:lnTo>
                    <a:pt x="209" y="242"/>
                  </a:lnTo>
                  <a:lnTo>
                    <a:pt x="221" y="242"/>
                  </a:lnTo>
                  <a:lnTo>
                    <a:pt x="227" y="242"/>
                  </a:lnTo>
                  <a:lnTo>
                    <a:pt x="236" y="242"/>
                  </a:lnTo>
                  <a:lnTo>
                    <a:pt x="239" y="242"/>
                  </a:lnTo>
                  <a:lnTo>
                    <a:pt x="242" y="242"/>
                  </a:lnTo>
                  <a:lnTo>
                    <a:pt x="245" y="242"/>
                  </a:lnTo>
                  <a:lnTo>
                    <a:pt x="253" y="239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5" y="218"/>
                  </a:lnTo>
                  <a:lnTo>
                    <a:pt x="271" y="212"/>
                  </a:lnTo>
                  <a:lnTo>
                    <a:pt x="271" y="210"/>
                  </a:lnTo>
                  <a:lnTo>
                    <a:pt x="274" y="207"/>
                  </a:lnTo>
                  <a:lnTo>
                    <a:pt x="280" y="204"/>
                  </a:lnTo>
                  <a:lnTo>
                    <a:pt x="283" y="204"/>
                  </a:lnTo>
                  <a:lnTo>
                    <a:pt x="286" y="201"/>
                  </a:lnTo>
                  <a:lnTo>
                    <a:pt x="289" y="198"/>
                  </a:lnTo>
                  <a:lnTo>
                    <a:pt x="295" y="195"/>
                  </a:lnTo>
                  <a:lnTo>
                    <a:pt x="298" y="189"/>
                  </a:lnTo>
                  <a:lnTo>
                    <a:pt x="301" y="183"/>
                  </a:lnTo>
                  <a:lnTo>
                    <a:pt x="301" y="180"/>
                  </a:lnTo>
                  <a:lnTo>
                    <a:pt x="301" y="177"/>
                  </a:lnTo>
                  <a:lnTo>
                    <a:pt x="304" y="177"/>
                  </a:lnTo>
                  <a:lnTo>
                    <a:pt x="307" y="168"/>
                  </a:lnTo>
                  <a:lnTo>
                    <a:pt x="307" y="165"/>
                  </a:lnTo>
                  <a:lnTo>
                    <a:pt x="310" y="159"/>
                  </a:lnTo>
                  <a:lnTo>
                    <a:pt x="312" y="156"/>
                  </a:lnTo>
                  <a:lnTo>
                    <a:pt x="318" y="151"/>
                  </a:lnTo>
                  <a:lnTo>
                    <a:pt x="321" y="148"/>
                  </a:lnTo>
                  <a:lnTo>
                    <a:pt x="327" y="148"/>
                  </a:lnTo>
                  <a:lnTo>
                    <a:pt x="330" y="145"/>
                  </a:lnTo>
                  <a:lnTo>
                    <a:pt x="333" y="142"/>
                  </a:lnTo>
                  <a:lnTo>
                    <a:pt x="336" y="142"/>
                  </a:lnTo>
                  <a:lnTo>
                    <a:pt x="339" y="142"/>
                  </a:lnTo>
                  <a:lnTo>
                    <a:pt x="339" y="139"/>
                  </a:lnTo>
                  <a:lnTo>
                    <a:pt x="342" y="139"/>
                  </a:lnTo>
                  <a:lnTo>
                    <a:pt x="348" y="136"/>
                  </a:lnTo>
                  <a:lnTo>
                    <a:pt x="351" y="136"/>
                  </a:lnTo>
                  <a:lnTo>
                    <a:pt x="351" y="133"/>
                  </a:lnTo>
                  <a:lnTo>
                    <a:pt x="354" y="133"/>
                  </a:lnTo>
                  <a:lnTo>
                    <a:pt x="357" y="130"/>
                  </a:lnTo>
                  <a:lnTo>
                    <a:pt x="360" y="130"/>
                  </a:lnTo>
                  <a:lnTo>
                    <a:pt x="366" y="127"/>
                  </a:lnTo>
                  <a:lnTo>
                    <a:pt x="369" y="127"/>
                  </a:lnTo>
                  <a:lnTo>
                    <a:pt x="374" y="127"/>
                  </a:lnTo>
                  <a:lnTo>
                    <a:pt x="377" y="124"/>
                  </a:lnTo>
                  <a:lnTo>
                    <a:pt x="380" y="121"/>
                  </a:lnTo>
                  <a:lnTo>
                    <a:pt x="383" y="112"/>
                  </a:lnTo>
                  <a:lnTo>
                    <a:pt x="386" y="109"/>
                  </a:lnTo>
                  <a:lnTo>
                    <a:pt x="389" y="106"/>
                  </a:lnTo>
                  <a:lnTo>
                    <a:pt x="395" y="100"/>
                  </a:lnTo>
                  <a:lnTo>
                    <a:pt x="398" y="94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10" y="77"/>
                  </a:lnTo>
                  <a:lnTo>
                    <a:pt x="410" y="74"/>
                  </a:lnTo>
                  <a:lnTo>
                    <a:pt x="413" y="74"/>
                  </a:lnTo>
                  <a:lnTo>
                    <a:pt x="413" y="71"/>
                  </a:lnTo>
                  <a:lnTo>
                    <a:pt x="416" y="68"/>
                  </a:lnTo>
                  <a:lnTo>
                    <a:pt x="416" y="65"/>
                  </a:lnTo>
                  <a:lnTo>
                    <a:pt x="419" y="56"/>
                  </a:lnTo>
                  <a:lnTo>
                    <a:pt x="422" y="50"/>
                  </a:lnTo>
                  <a:lnTo>
                    <a:pt x="422" y="47"/>
                  </a:lnTo>
                  <a:lnTo>
                    <a:pt x="425" y="44"/>
                  </a:lnTo>
                  <a:lnTo>
                    <a:pt x="428" y="35"/>
                  </a:lnTo>
                  <a:lnTo>
                    <a:pt x="428" y="32"/>
                  </a:lnTo>
                  <a:lnTo>
                    <a:pt x="428" y="30"/>
                  </a:lnTo>
                  <a:lnTo>
                    <a:pt x="431" y="27"/>
                  </a:lnTo>
                  <a:lnTo>
                    <a:pt x="448" y="21"/>
                  </a:lnTo>
                  <a:lnTo>
                    <a:pt x="448" y="18"/>
                  </a:lnTo>
                  <a:lnTo>
                    <a:pt x="454" y="18"/>
                  </a:lnTo>
                  <a:lnTo>
                    <a:pt x="463" y="15"/>
                  </a:lnTo>
                  <a:lnTo>
                    <a:pt x="469" y="15"/>
                  </a:lnTo>
                  <a:lnTo>
                    <a:pt x="472" y="15"/>
                  </a:lnTo>
                  <a:lnTo>
                    <a:pt x="475" y="12"/>
                  </a:lnTo>
                  <a:lnTo>
                    <a:pt x="478" y="9"/>
                  </a:lnTo>
                  <a:lnTo>
                    <a:pt x="484" y="6"/>
                  </a:lnTo>
                  <a:lnTo>
                    <a:pt x="487" y="3"/>
                  </a:lnTo>
                  <a:lnTo>
                    <a:pt x="493" y="0"/>
                  </a:lnTo>
                  <a:lnTo>
                    <a:pt x="493" y="3"/>
                  </a:lnTo>
                  <a:lnTo>
                    <a:pt x="487" y="12"/>
                  </a:lnTo>
                  <a:lnTo>
                    <a:pt x="481" y="18"/>
                  </a:lnTo>
                  <a:lnTo>
                    <a:pt x="481" y="21"/>
                  </a:lnTo>
                  <a:lnTo>
                    <a:pt x="487" y="24"/>
                  </a:lnTo>
                  <a:lnTo>
                    <a:pt x="513" y="27"/>
                  </a:lnTo>
                  <a:lnTo>
                    <a:pt x="543" y="32"/>
                  </a:lnTo>
                  <a:lnTo>
                    <a:pt x="546" y="32"/>
                  </a:lnTo>
                  <a:lnTo>
                    <a:pt x="546" y="41"/>
                  </a:lnTo>
                  <a:lnTo>
                    <a:pt x="543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46" y="53"/>
                  </a:lnTo>
                  <a:lnTo>
                    <a:pt x="549" y="53"/>
                  </a:lnTo>
                  <a:lnTo>
                    <a:pt x="552" y="56"/>
                  </a:lnTo>
                  <a:lnTo>
                    <a:pt x="552" y="62"/>
                  </a:lnTo>
                  <a:lnTo>
                    <a:pt x="549" y="68"/>
                  </a:lnTo>
                  <a:lnTo>
                    <a:pt x="549" y="74"/>
                  </a:lnTo>
                  <a:lnTo>
                    <a:pt x="552" y="80"/>
                  </a:lnTo>
                  <a:lnTo>
                    <a:pt x="549" y="83"/>
                  </a:lnTo>
                  <a:lnTo>
                    <a:pt x="543" y="89"/>
                  </a:lnTo>
                  <a:lnTo>
                    <a:pt x="549" y="100"/>
                  </a:lnTo>
                  <a:lnTo>
                    <a:pt x="554" y="97"/>
                  </a:lnTo>
                  <a:lnTo>
                    <a:pt x="557" y="97"/>
                  </a:lnTo>
                  <a:lnTo>
                    <a:pt x="563" y="100"/>
                  </a:lnTo>
                  <a:lnTo>
                    <a:pt x="572" y="97"/>
                  </a:lnTo>
                  <a:lnTo>
                    <a:pt x="578" y="97"/>
                  </a:lnTo>
                  <a:lnTo>
                    <a:pt x="584" y="100"/>
                  </a:lnTo>
                  <a:lnTo>
                    <a:pt x="584" y="103"/>
                  </a:lnTo>
                  <a:lnTo>
                    <a:pt x="584" y="109"/>
                  </a:lnTo>
                  <a:lnTo>
                    <a:pt x="587" y="109"/>
                  </a:lnTo>
                  <a:lnTo>
                    <a:pt x="593" y="112"/>
                  </a:lnTo>
                  <a:lnTo>
                    <a:pt x="596" y="115"/>
                  </a:lnTo>
                  <a:lnTo>
                    <a:pt x="599" y="118"/>
                  </a:lnTo>
                  <a:lnTo>
                    <a:pt x="605" y="115"/>
                  </a:lnTo>
                  <a:lnTo>
                    <a:pt x="611" y="115"/>
                  </a:lnTo>
                  <a:lnTo>
                    <a:pt x="614" y="115"/>
                  </a:lnTo>
                  <a:lnTo>
                    <a:pt x="619" y="112"/>
                  </a:lnTo>
                  <a:lnTo>
                    <a:pt x="625" y="118"/>
                  </a:lnTo>
                  <a:lnTo>
                    <a:pt x="628" y="115"/>
                  </a:lnTo>
                  <a:lnTo>
                    <a:pt x="631" y="118"/>
                  </a:lnTo>
                  <a:lnTo>
                    <a:pt x="628" y="121"/>
                  </a:lnTo>
                  <a:lnTo>
                    <a:pt x="625" y="127"/>
                  </a:lnTo>
                  <a:lnTo>
                    <a:pt x="625" y="130"/>
                  </a:lnTo>
                  <a:lnTo>
                    <a:pt x="628" y="130"/>
                  </a:lnTo>
                  <a:lnTo>
                    <a:pt x="628" y="136"/>
                  </a:lnTo>
                  <a:lnTo>
                    <a:pt x="634" y="139"/>
                  </a:lnTo>
                  <a:lnTo>
                    <a:pt x="637" y="142"/>
                  </a:lnTo>
                  <a:lnTo>
                    <a:pt x="637" y="151"/>
                  </a:lnTo>
                  <a:lnTo>
                    <a:pt x="637" y="159"/>
                  </a:lnTo>
                  <a:lnTo>
                    <a:pt x="637" y="165"/>
                  </a:lnTo>
                  <a:lnTo>
                    <a:pt x="640" y="168"/>
                  </a:lnTo>
                  <a:lnTo>
                    <a:pt x="640" y="174"/>
                  </a:lnTo>
                  <a:lnTo>
                    <a:pt x="643" y="183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8" y="207"/>
                  </a:lnTo>
                  <a:lnTo>
                    <a:pt x="661" y="207"/>
                  </a:lnTo>
                  <a:lnTo>
                    <a:pt x="661" y="212"/>
                  </a:lnTo>
                  <a:lnTo>
                    <a:pt x="661" y="215"/>
                  </a:lnTo>
                  <a:lnTo>
                    <a:pt x="667" y="218"/>
                  </a:lnTo>
                  <a:lnTo>
                    <a:pt x="673" y="218"/>
                  </a:lnTo>
                  <a:lnTo>
                    <a:pt x="675" y="218"/>
                  </a:lnTo>
                  <a:lnTo>
                    <a:pt x="678" y="221"/>
                  </a:lnTo>
                  <a:lnTo>
                    <a:pt x="678" y="227"/>
                  </a:lnTo>
                  <a:lnTo>
                    <a:pt x="684" y="230"/>
                  </a:lnTo>
                  <a:lnTo>
                    <a:pt x="687" y="233"/>
                  </a:lnTo>
                  <a:lnTo>
                    <a:pt x="684" y="236"/>
                  </a:lnTo>
                  <a:lnTo>
                    <a:pt x="690" y="239"/>
                  </a:lnTo>
                  <a:lnTo>
                    <a:pt x="690" y="242"/>
                  </a:lnTo>
                  <a:lnTo>
                    <a:pt x="687" y="245"/>
                  </a:lnTo>
                  <a:lnTo>
                    <a:pt x="681" y="248"/>
                  </a:lnTo>
                  <a:lnTo>
                    <a:pt x="678" y="251"/>
                  </a:lnTo>
                  <a:lnTo>
                    <a:pt x="684" y="251"/>
                  </a:lnTo>
                  <a:lnTo>
                    <a:pt x="687" y="254"/>
                  </a:lnTo>
                  <a:lnTo>
                    <a:pt x="687" y="257"/>
                  </a:lnTo>
                  <a:lnTo>
                    <a:pt x="681" y="257"/>
                  </a:lnTo>
                  <a:lnTo>
                    <a:pt x="681" y="263"/>
                  </a:lnTo>
                  <a:lnTo>
                    <a:pt x="681" y="266"/>
                  </a:lnTo>
                  <a:lnTo>
                    <a:pt x="678" y="269"/>
                  </a:lnTo>
                  <a:lnTo>
                    <a:pt x="675" y="269"/>
                  </a:lnTo>
                  <a:lnTo>
                    <a:pt x="678" y="271"/>
                  </a:lnTo>
                  <a:lnTo>
                    <a:pt x="681" y="277"/>
                  </a:lnTo>
                  <a:lnTo>
                    <a:pt x="687" y="277"/>
                  </a:lnTo>
                  <a:lnTo>
                    <a:pt x="690" y="277"/>
                  </a:lnTo>
                  <a:lnTo>
                    <a:pt x="693" y="280"/>
                  </a:lnTo>
                  <a:lnTo>
                    <a:pt x="696" y="280"/>
                  </a:lnTo>
                  <a:lnTo>
                    <a:pt x="699" y="283"/>
                  </a:lnTo>
                  <a:lnTo>
                    <a:pt x="702" y="283"/>
                  </a:lnTo>
                  <a:lnTo>
                    <a:pt x="705" y="280"/>
                  </a:lnTo>
                  <a:lnTo>
                    <a:pt x="702" y="274"/>
                  </a:lnTo>
                  <a:lnTo>
                    <a:pt x="702" y="269"/>
                  </a:lnTo>
                  <a:lnTo>
                    <a:pt x="702" y="266"/>
                  </a:lnTo>
                  <a:lnTo>
                    <a:pt x="702" y="260"/>
                  </a:lnTo>
                  <a:lnTo>
                    <a:pt x="702" y="257"/>
                  </a:lnTo>
                  <a:lnTo>
                    <a:pt x="714" y="257"/>
                  </a:lnTo>
                  <a:lnTo>
                    <a:pt x="717" y="257"/>
                  </a:lnTo>
                  <a:lnTo>
                    <a:pt x="720" y="254"/>
                  </a:lnTo>
                  <a:lnTo>
                    <a:pt x="717" y="251"/>
                  </a:lnTo>
                  <a:lnTo>
                    <a:pt x="717" y="248"/>
                  </a:lnTo>
                  <a:lnTo>
                    <a:pt x="717" y="245"/>
                  </a:lnTo>
                  <a:lnTo>
                    <a:pt x="723" y="245"/>
                  </a:lnTo>
                  <a:lnTo>
                    <a:pt x="723" y="248"/>
                  </a:lnTo>
                  <a:lnTo>
                    <a:pt x="726" y="251"/>
                  </a:lnTo>
                  <a:lnTo>
                    <a:pt x="729" y="248"/>
                  </a:lnTo>
                  <a:lnTo>
                    <a:pt x="732" y="251"/>
                  </a:lnTo>
                  <a:lnTo>
                    <a:pt x="735" y="251"/>
                  </a:lnTo>
                  <a:lnTo>
                    <a:pt x="732" y="254"/>
                  </a:lnTo>
                  <a:lnTo>
                    <a:pt x="732" y="257"/>
                  </a:lnTo>
                  <a:lnTo>
                    <a:pt x="735" y="260"/>
                  </a:lnTo>
                  <a:lnTo>
                    <a:pt x="737" y="260"/>
                  </a:lnTo>
                  <a:lnTo>
                    <a:pt x="737" y="266"/>
                  </a:lnTo>
                  <a:lnTo>
                    <a:pt x="737" y="269"/>
                  </a:lnTo>
                  <a:lnTo>
                    <a:pt x="743" y="266"/>
                  </a:lnTo>
                  <a:lnTo>
                    <a:pt x="749" y="263"/>
                  </a:lnTo>
                  <a:lnTo>
                    <a:pt x="752" y="257"/>
                  </a:lnTo>
                  <a:lnTo>
                    <a:pt x="752" y="254"/>
                  </a:lnTo>
                  <a:lnTo>
                    <a:pt x="758" y="251"/>
                  </a:lnTo>
                  <a:lnTo>
                    <a:pt x="764" y="248"/>
                  </a:lnTo>
                  <a:lnTo>
                    <a:pt x="767" y="245"/>
                  </a:lnTo>
                  <a:lnTo>
                    <a:pt x="770" y="245"/>
                  </a:lnTo>
                  <a:lnTo>
                    <a:pt x="773" y="242"/>
                  </a:lnTo>
                  <a:lnTo>
                    <a:pt x="776" y="245"/>
                  </a:lnTo>
                  <a:lnTo>
                    <a:pt x="779" y="251"/>
                  </a:lnTo>
                  <a:lnTo>
                    <a:pt x="782" y="251"/>
                  </a:lnTo>
                  <a:lnTo>
                    <a:pt x="785" y="257"/>
                  </a:lnTo>
                  <a:lnTo>
                    <a:pt x="782" y="260"/>
                  </a:lnTo>
                  <a:lnTo>
                    <a:pt x="779" y="263"/>
                  </a:lnTo>
                  <a:lnTo>
                    <a:pt x="776" y="269"/>
                  </a:lnTo>
                  <a:lnTo>
                    <a:pt x="776" y="277"/>
                  </a:lnTo>
                  <a:lnTo>
                    <a:pt x="773" y="289"/>
                  </a:lnTo>
                  <a:lnTo>
                    <a:pt x="773" y="292"/>
                  </a:lnTo>
                  <a:lnTo>
                    <a:pt x="773" y="298"/>
                  </a:lnTo>
                  <a:lnTo>
                    <a:pt x="770" y="298"/>
                  </a:lnTo>
                  <a:lnTo>
                    <a:pt x="770" y="301"/>
                  </a:lnTo>
                  <a:lnTo>
                    <a:pt x="773" y="304"/>
                  </a:lnTo>
                  <a:lnTo>
                    <a:pt x="776" y="304"/>
                  </a:lnTo>
                  <a:lnTo>
                    <a:pt x="779" y="304"/>
                  </a:lnTo>
                  <a:lnTo>
                    <a:pt x="782" y="298"/>
                  </a:lnTo>
                  <a:lnTo>
                    <a:pt x="782" y="295"/>
                  </a:lnTo>
                  <a:lnTo>
                    <a:pt x="788" y="298"/>
                  </a:lnTo>
                  <a:lnTo>
                    <a:pt x="788" y="295"/>
                  </a:lnTo>
                  <a:lnTo>
                    <a:pt x="788" y="289"/>
                  </a:lnTo>
                  <a:lnTo>
                    <a:pt x="791" y="289"/>
                  </a:lnTo>
                  <a:lnTo>
                    <a:pt x="794" y="289"/>
                  </a:lnTo>
                  <a:lnTo>
                    <a:pt x="799" y="289"/>
                  </a:lnTo>
                  <a:lnTo>
                    <a:pt x="802" y="286"/>
                  </a:lnTo>
                  <a:lnTo>
                    <a:pt x="802" y="289"/>
                  </a:lnTo>
                  <a:lnTo>
                    <a:pt x="805" y="289"/>
                  </a:lnTo>
                  <a:lnTo>
                    <a:pt x="811" y="289"/>
                  </a:lnTo>
                  <a:lnTo>
                    <a:pt x="814" y="292"/>
                  </a:lnTo>
                  <a:lnTo>
                    <a:pt x="817" y="295"/>
                  </a:lnTo>
                  <a:lnTo>
                    <a:pt x="817" y="304"/>
                  </a:lnTo>
                  <a:lnTo>
                    <a:pt x="820" y="307"/>
                  </a:lnTo>
                  <a:lnTo>
                    <a:pt x="820" y="313"/>
                  </a:lnTo>
                  <a:lnTo>
                    <a:pt x="817" y="319"/>
                  </a:lnTo>
                  <a:lnTo>
                    <a:pt x="823" y="325"/>
                  </a:lnTo>
                  <a:lnTo>
                    <a:pt x="829" y="331"/>
                  </a:lnTo>
                  <a:lnTo>
                    <a:pt x="826" y="333"/>
                  </a:lnTo>
                  <a:lnTo>
                    <a:pt x="829" y="336"/>
                  </a:lnTo>
                  <a:lnTo>
                    <a:pt x="835" y="339"/>
                  </a:lnTo>
                  <a:lnTo>
                    <a:pt x="838" y="342"/>
                  </a:lnTo>
                  <a:lnTo>
                    <a:pt x="844" y="345"/>
                  </a:lnTo>
                  <a:lnTo>
                    <a:pt x="847" y="345"/>
                  </a:lnTo>
                  <a:lnTo>
                    <a:pt x="847" y="351"/>
                  </a:lnTo>
                  <a:lnTo>
                    <a:pt x="850" y="354"/>
                  </a:lnTo>
                  <a:lnTo>
                    <a:pt x="850" y="360"/>
                  </a:lnTo>
                  <a:lnTo>
                    <a:pt x="850" y="363"/>
                  </a:lnTo>
                  <a:lnTo>
                    <a:pt x="847" y="363"/>
                  </a:lnTo>
                  <a:lnTo>
                    <a:pt x="841" y="369"/>
                  </a:lnTo>
                  <a:lnTo>
                    <a:pt x="838" y="372"/>
                  </a:lnTo>
                  <a:lnTo>
                    <a:pt x="841" y="375"/>
                  </a:lnTo>
                  <a:lnTo>
                    <a:pt x="841" y="378"/>
                  </a:lnTo>
                  <a:lnTo>
                    <a:pt x="847" y="381"/>
                  </a:lnTo>
                  <a:lnTo>
                    <a:pt x="856" y="381"/>
                  </a:lnTo>
                  <a:lnTo>
                    <a:pt x="858" y="381"/>
                  </a:lnTo>
                  <a:lnTo>
                    <a:pt x="856" y="384"/>
                  </a:lnTo>
                  <a:lnTo>
                    <a:pt x="850" y="387"/>
                  </a:lnTo>
                  <a:lnTo>
                    <a:pt x="847" y="387"/>
                  </a:lnTo>
                  <a:lnTo>
                    <a:pt x="841" y="390"/>
                  </a:lnTo>
                  <a:lnTo>
                    <a:pt x="835" y="392"/>
                  </a:lnTo>
                  <a:lnTo>
                    <a:pt x="829" y="395"/>
                  </a:lnTo>
                  <a:lnTo>
                    <a:pt x="826" y="398"/>
                  </a:lnTo>
                  <a:lnTo>
                    <a:pt x="823" y="401"/>
                  </a:lnTo>
                  <a:lnTo>
                    <a:pt x="823" y="407"/>
                  </a:lnTo>
                  <a:lnTo>
                    <a:pt x="826" y="407"/>
                  </a:lnTo>
                  <a:lnTo>
                    <a:pt x="829" y="407"/>
                  </a:lnTo>
                  <a:lnTo>
                    <a:pt x="832" y="404"/>
                  </a:lnTo>
                  <a:lnTo>
                    <a:pt x="838" y="401"/>
                  </a:lnTo>
                  <a:lnTo>
                    <a:pt x="844" y="401"/>
                  </a:lnTo>
                  <a:lnTo>
                    <a:pt x="856" y="395"/>
                  </a:lnTo>
                  <a:lnTo>
                    <a:pt x="861" y="392"/>
                  </a:lnTo>
                  <a:lnTo>
                    <a:pt x="867" y="392"/>
                  </a:lnTo>
                  <a:lnTo>
                    <a:pt x="876" y="395"/>
                  </a:lnTo>
                  <a:lnTo>
                    <a:pt x="879" y="395"/>
                  </a:lnTo>
                  <a:lnTo>
                    <a:pt x="885" y="395"/>
                  </a:lnTo>
                  <a:lnTo>
                    <a:pt x="888" y="398"/>
                  </a:lnTo>
                  <a:lnTo>
                    <a:pt x="891" y="395"/>
                  </a:lnTo>
                  <a:lnTo>
                    <a:pt x="897" y="392"/>
                  </a:lnTo>
                  <a:lnTo>
                    <a:pt x="900" y="390"/>
                  </a:lnTo>
                  <a:lnTo>
                    <a:pt x="903" y="390"/>
                  </a:lnTo>
                  <a:lnTo>
                    <a:pt x="909" y="392"/>
                  </a:lnTo>
                  <a:lnTo>
                    <a:pt x="912" y="395"/>
                  </a:lnTo>
                  <a:lnTo>
                    <a:pt x="909" y="398"/>
                  </a:lnTo>
                  <a:lnTo>
                    <a:pt x="906" y="398"/>
                  </a:lnTo>
                  <a:lnTo>
                    <a:pt x="903" y="401"/>
                  </a:lnTo>
                  <a:lnTo>
                    <a:pt x="906" y="404"/>
                  </a:lnTo>
                  <a:lnTo>
                    <a:pt x="903" y="404"/>
                  </a:lnTo>
                  <a:lnTo>
                    <a:pt x="900" y="404"/>
                  </a:lnTo>
                  <a:lnTo>
                    <a:pt x="900" y="407"/>
                  </a:lnTo>
                  <a:lnTo>
                    <a:pt x="900" y="410"/>
                  </a:lnTo>
                  <a:lnTo>
                    <a:pt x="897" y="410"/>
                  </a:lnTo>
                  <a:lnTo>
                    <a:pt x="897" y="407"/>
                  </a:lnTo>
                  <a:lnTo>
                    <a:pt x="894" y="407"/>
                  </a:lnTo>
                  <a:lnTo>
                    <a:pt x="891" y="407"/>
                  </a:lnTo>
                  <a:lnTo>
                    <a:pt x="891" y="410"/>
                  </a:lnTo>
                  <a:lnTo>
                    <a:pt x="894" y="410"/>
                  </a:lnTo>
                  <a:lnTo>
                    <a:pt x="894" y="413"/>
                  </a:lnTo>
                  <a:lnTo>
                    <a:pt x="891" y="413"/>
                  </a:lnTo>
                  <a:lnTo>
                    <a:pt x="891" y="416"/>
                  </a:lnTo>
                  <a:lnTo>
                    <a:pt x="891" y="419"/>
                  </a:lnTo>
                  <a:lnTo>
                    <a:pt x="888" y="422"/>
                  </a:lnTo>
                  <a:lnTo>
                    <a:pt x="885" y="422"/>
                  </a:lnTo>
                  <a:lnTo>
                    <a:pt x="885" y="419"/>
                  </a:lnTo>
                  <a:lnTo>
                    <a:pt x="882" y="419"/>
                  </a:lnTo>
                  <a:lnTo>
                    <a:pt x="879" y="419"/>
                  </a:lnTo>
                  <a:lnTo>
                    <a:pt x="876" y="422"/>
                  </a:lnTo>
                  <a:lnTo>
                    <a:pt x="873" y="422"/>
                  </a:lnTo>
                  <a:lnTo>
                    <a:pt x="870" y="422"/>
                  </a:lnTo>
                  <a:lnTo>
                    <a:pt x="870" y="425"/>
                  </a:lnTo>
                  <a:lnTo>
                    <a:pt x="867" y="428"/>
                  </a:lnTo>
                  <a:lnTo>
                    <a:pt x="864" y="428"/>
                  </a:lnTo>
                  <a:lnTo>
                    <a:pt x="861" y="428"/>
                  </a:lnTo>
                  <a:lnTo>
                    <a:pt x="864" y="431"/>
                  </a:lnTo>
                  <a:lnTo>
                    <a:pt x="861" y="431"/>
                  </a:lnTo>
                  <a:lnTo>
                    <a:pt x="861" y="434"/>
                  </a:lnTo>
                  <a:lnTo>
                    <a:pt x="858" y="434"/>
                  </a:lnTo>
                  <a:lnTo>
                    <a:pt x="856" y="434"/>
                  </a:lnTo>
                  <a:lnTo>
                    <a:pt x="853" y="434"/>
                  </a:lnTo>
                  <a:lnTo>
                    <a:pt x="853" y="437"/>
                  </a:lnTo>
                  <a:lnTo>
                    <a:pt x="853" y="440"/>
                  </a:lnTo>
                  <a:lnTo>
                    <a:pt x="850" y="440"/>
                  </a:lnTo>
                  <a:lnTo>
                    <a:pt x="847" y="440"/>
                  </a:lnTo>
                  <a:lnTo>
                    <a:pt x="844" y="440"/>
                  </a:lnTo>
                  <a:lnTo>
                    <a:pt x="841" y="440"/>
                  </a:lnTo>
                  <a:lnTo>
                    <a:pt x="841" y="443"/>
                  </a:lnTo>
                  <a:lnTo>
                    <a:pt x="838" y="443"/>
                  </a:lnTo>
                  <a:lnTo>
                    <a:pt x="838" y="446"/>
                  </a:lnTo>
                  <a:lnTo>
                    <a:pt x="835" y="446"/>
                  </a:lnTo>
                  <a:lnTo>
                    <a:pt x="832" y="446"/>
                  </a:lnTo>
                  <a:lnTo>
                    <a:pt x="832" y="449"/>
                  </a:lnTo>
                  <a:lnTo>
                    <a:pt x="829" y="449"/>
                  </a:lnTo>
                  <a:lnTo>
                    <a:pt x="826" y="449"/>
                  </a:lnTo>
                  <a:lnTo>
                    <a:pt x="823" y="449"/>
                  </a:lnTo>
                  <a:lnTo>
                    <a:pt x="820" y="449"/>
                  </a:lnTo>
                  <a:lnTo>
                    <a:pt x="820" y="451"/>
                  </a:lnTo>
                  <a:lnTo>
                    <a:pt x="820" y="454"/>
                  </a:lnTo>
                  <a:lnTo>
                    <a:pt x="817" y="451"/>
                  </a:lnTo>
                  <a:lnTo>
                    <a:pt x="817" y="454"/>
                  </a:lnTo>
                  <a:lnTo>
                    <a:pt x="814" y="454"/>
                  </a:lnTo>
                  <a:lnTo>
                    <a:pt x="811" y="454"/>
                  </a:lnTo>
                  <a:lnTo>
                    <a:pt x="808" y="454"/>
                  </a:lnTo>
                  <a:lnTo>
                    <a:pt x="808" y="457"/>
                  </a:lnTo>
                  <a:lnTo>
                    <a:pt x="808" y="460"/>
                  </a:lnTo>
                  <a:lnTo>
                    <a:pt x="805" y="460"/>
                  </a:lnTo>
                  <a:lnTo>
                    <a:pt x="802" y="463"/>
                  </a:lnTo>
                  <a:lnTo>
                    <a:pt x="799" y="466"/>
                  </a:lnTo>
                  <a:lnTo>
                    <a:pt x="796" y="466"/>
                  </a:lnTo>
                  <a:lnTo>
                    <a:pt x="796" y="469"/>
                  </a:lnTo>
                  <a:lnTo>
                    <a:pt x="794" y="469"/>
                  </a:lnTo>
                  <a:lnTo>
                    <a:pt x="791" y="466"/>
                  </a:lnTo>
                  <a:lnTo>
                    <a:pt x="788" y="466"/>
                  </a:lnTo>
                  <a:lnTo>
                    <a:pt x="788" y="469"/>
                  </a:lnTo>
                  <a:lnTo>
                    <a:pt x="785" y="472"/>
                  </a:lnTo>
                  <a:lnTo>
                    <a:pt x="782" y="472"/>
                  </a:lnTo>
                  <a:lnTo>
                    <a:pt x="779" y="472"/>
                  </a:lnTo>
                  <a:lnTo>
                    <a:pt x="776" y="475"/>
                  </a:lnTo>
                  <a:lnTo>
                    <a:pt x="773" y="478"/>
                  </a:lnTo>
                  <a:lnTo>
                    <a:pt x="770" y="481"/>
                  </a:lnTo>
                  <a:lnTo>
                    <a:pt x="767" y="481"/>
                  </a:lnTo>
                  <a:lnTo>
                    <a:pt x="764" y="481"/>
                  </a:lnTo>
                  <a:lnTo>
                    <a:pt x="764" y="484"/>
                  </a:lnTo>
                  <a:lnTo>
                    <a:pt x="761" y="484"/>
                  </a:lnTo>
                  <a:lnTo>
                    <a:pt x="761" y="487"/>
                  </a:lnTo>
                  <a:lnTo>
                    <a:pt x="758" y="487"/>
                  </a:lnTo>
                  <a:lnTo>
                    <a:pt x="758" y="490"/>
                  </a:lnTo>
                  <a:lnTo>
                    <a:pt x="755" y="490"/>
                  </a:lnTo>
                  <a:lnTo>
                    <a:pt x="755" y="493"/>
                  </a:lnTo>
                  <a:lnTo>
                    <a:pt x="752" y="493"/>
                  </a:lnTo>
                  <a:lnTo>
                    <a:pt x="752" y="496"/>
                  </a:lnTo>
                  <a:lnTo>
                    <a:pt x="752" y="499"/>
                  </a:lnTo>
                  <a:lnTo>
                    <a:pt x="749" y="499"/>
                  </a:lnTo>
                  <a:lnTo>
                    <a:pt x="746" y="499"/>
                  </a:lnTo>
                  <a:lnTo>
                    <a:pt x="746" y="502"/>
                  </a:lnTo>
                  <a:lnTo>
                    <a:pt x="743" y="502"/>
                  </a:lnTo>
                  <a:lnTo>
                    <a:pt x="740" y="502"/>
                  </a:lnTo>
                  <a:lnTo>
                    <a:pt x="737" y="502"/>
                  </a:lnTo>
                  <a:lnTo>
                    <a:pt x="735" y="502"/>
                  </a:lnTo>
                  <a:lnTo>
                    <a:pt x="735" y="505"/>
                  </a:lnTo>
                  <a:lnTo>
                    <a:pt x="732" y="505"/>
                  </a:lnTo>
                  <a:lnTo>
                    <a:pt x="729" y="505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511"/>
                  </a:lnTo>
                  <a:lnTo>
                    <a:pt x="723" y="511"/>
                  </a:lnTo>
                  <a:lnTo>
                    <a:pt x="723" y="513"/>
                  </a:lnTo>
                  <a:lnTo>
                    <a:pt x="723" y="516"/>
                  </a:lnTo>
                  <a:lnTo>
                    <a:pt x="723" y="519"/>
                  </a:lnTo>
                  <a:lnTo>
                    <a:pt x="720" y="519"/>
                  </a:lnTo>
                  <a:lnTo>
                    <a:pt x="720" y="522"/>
                  </a:lnTo>
                  <a:lnTo>
                    <a:pt x="717" y="522"/>
                  </a:lnTo>
                  <a:lnTo>
                    <a:pt x="717" y="525"/>
                  </a:lnTo>
                  <a:lnTo>
                    <a:pt x="720" y="525"/>
                  </a:lnTo>
                  <a:lnTo>
                    <a:pt x="720" y="528"/>
                  </a:lnTo>
                  <a:lnTo>
                    <a:pt x="720" y="531"/>
                  </a:lnTo>
                  <a:lnTo>
                    <a:pt x="720" y="534"/>
                  </a:lnTo>
                  <a:lnTo>
                    <a:pt x="720" y="537"/>
                  </a:lnTo>
                  <a:lnTo>
                    <a:pt x="720" y="540"/>
                  </a:lnTo>
                  <a:lnTo>
                    <a:pt x="720" y="543"/>
                  </a:lnTo>
                  <a:lnTo>
                    <a:pt x="723" y="546"/>
                  </a:lnTo>
                  <a:lnTo>
                    <a:pt x="723" y="549"/>
                  </a:lnTo>
                  <a:lnTo>
                    <a:pt x="726" y="549"/>
                  </a:lnTo>
                  <a:lnTo>
                    <a:pt x="726" y="552"/>
                  </a:lnTo>
                  <a:lnTo>
                    <a:pt x="726" y="555"/>
                  </a:lnTo>
                  <a:lnTo>
                    <a:pt x="729" y="555"/>
                  </a:lnTo>
                  <a:lnTo>
                    <a:pt x="729" y="558"/>
                  </a:lnTo>
                  <a:lnTo>
                    <a:pt x="737" y="567"/>
                  </a:lnTo>
                  <a:lnTo>
                    <a:pt x="740" y="570"/>
                  </a:lnTo>
                  <a:lnTo>
                    <a:pt x="743" y="570"/>
                  </a:lnTo>
                  <a:lnTo>
                    <a:pt x="746" y="570"/>
                  </a:lnTo>
                  <a:lnTo>
                    <a:pt x="752" y="572"/>
                  </a:lnTo>
                  <a:lnTo>
                    <a:pt x="761" y="572"/>
                  </a:lnTo>
                  <a:lnTo>
                    <a:pt x="764" y="572"/>
                  </a:lnTo>
                  <a:lnTo>
                    <a:pt x="767" y="575"/>
                  </a:lnTo>
                  <a:lnTo>
                    <a:pt x="770" y="572"/>
                  </a:lnTo>
                  <a:lnTo>
                    <a:pt x="776" y="572"/>
                  </a:lnTo>
                  <a:lnTo>
                    <a:pt x="779" y="570"/>
                  </a:lnTo>
                  <a:lnTo>
                    <a:pt x="785" y="572"/>
                  </a:lnTo>
                  <a:lnTo>
                    <a:pt x="791" y="572"/>
                  </a:lnTo>
                  <a:lnTo>
                    <a:pt x="796" y="572"/>
                  </a:lnTo>
                  <a:lnTo>
                    <a:pt x="796" y="567"/>
                  </a:lnTo>
                  <a:lnTo>
                    <a:pt x="799" y="564"/>
                  </a:lnTo>
                  <a:lnTo>
                    <a:pt x="805" y="561"/>
                  </a:lnTo>
                  <a:lnTo>
                    <a:pt x="808" y="567"/>
                  </a:lnTo>
                  <a:lnTo>
                    <a:pt x="808" y="570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4" y="584"/>
                  </a:lnTo>
                  <a:lnTo>
                    <a:pt x="811" y="590"/>
                  </a:lnTo>
                  <a:lnTo>
                    <a:pt x="808" y="590"/>
                  </a:lnTo>
                  <a:lnTo>
                    <a:pt x="808" y="593"/>
                  </a:lnTo>
                  <a:lnTo>
                    <a:pt x="805" y="596"/>
                  </a:lnTo>
                  <a:lnTo>
                    <a:pt x="802" y="596"/>
                  </a:lnTo>
                  <a:lnTo>
                    <a:pt x="796" y="596"/>
                  </a:lnTo>
                  <a:lnTo>
                    <a:pt x="791" y="596"/>
                  </a:lnTo>
                  <a:lnTo>
                    <a:pt x="788" y="596"/>
                  </a:lnTo>
                  <a:lnTo>
                    <a:pt x="785" y="596"/>
                  </a:lnTo>
                  <a:lnTo>
                    <a:pt x="779" y="599"/>
                  </a:lnTo>
                  <a:lnTo>
                    <a:pt x="773" y="599"/>
                  </a:lnTo>
                  <a:lnTo>
                    <a:pt x="770" y="599"/>
                  </a:lnTo>
                  <a:lnTo>
                    <a:pt x="764" y="599"/>
                  </a:lnTo>
                  <a:lnTo>
                    <a:pt x="761" y="602"/>
                  </a:lnTo>
                  <a:lnTo>
                    <a:pt x="758" y="602"/>
                  </a:lnTo>
                  <a:lnTo>
                    <a:pt x="752" y="608"/>
                  </a:lnTo>
                  <a:lnTo>
                    <a:pt x="752" y="611"/>
                  </a:lnTo>
                  <a:lnTo>
                    <a:pt x="755" y="617"/>
                  </a:lnTo>
                  <a:lnTo>
                    <a:pt x="758" y="623"/>
                  </a:lnTo>
                  <a:lnTo>
                    <a:pt x="755" y="626"/>
                  </a:lnTo>
                  <a:lnTo>
                    <a:pt x="752" y="626"/>
                  </a:lnTo>
                  <a:lnTo>
                    <a:pt x="746" y="626"/>
                  </a:lnTo>
                  <a:lnTo>
                    <a:pt x="749" y="629"/>
                  </a:lnTo>
                  <a:lnTo>
                    <a:pt x="752" y="629"/>
                  </a:lnTo>
                  <a:lnTo>
                    <a:pt x="752" y="632"/>
                  </a:lnTo>
                  <a:lnTo>
                    <a:pt x="752" y="634"/>
                  </a:lnTo>
                  <a:lnTo>
                    <a:pt x="755" y="632"/>
                  </a:lnTo>
                  <a:lnTo>
                    <a:pt x="755" y="634"/>
                  </a:lnTo>
                  <a:lnTo>
                    <a:pt x="758" y="634"/>
                  </a:lnTo>
                  <a:lnTo>
                    <a:pt x="761" y="634"/>
                  </a:lnTo>
                  <a:lnTo>
                    <a:pt x="761" y="632"/>
                  </a:lnTo>
                  <a:lnTo>
                    <a:pt x="764" y="632"/>
                  </a:lnTo>
                  <a:lnTo>
                    <a:pt x="764" y="634"/>
                  </a:lnTo>
                  <a:lnTo>
                    <a:pt x="767" y="634"/>
                  </a:lnTo>
                  <a:lnTo>
                    <a:pt x="767" y="637"/>
                  </a:lnTo>
                  <a:lnTo>
                    <a:pt x="770" y="637"/>
                  </a:lnTo>
                  <a:lnTo>
                    <a:pt x="770" y="640"/>
                  </a:lnTo>
                  <a:lnTo>
                    <a:pt x="773" y="643"/>
                  </a:lnTo>
                  <a:lnTo>
                    <a:pt x="773" y="646"/>
                  </a:lnTo>
                  <a:lnTo>
                    <a:pt x="773" y="649"/>
                  </a:lnTo>
                  <a:lnTo>
                    <a:pt x="773" y="652"/>
                  </a:lnTo>
                  <a:lnTo>
                    <a:pt x="773" y="655"/>
                  </a:lnTo>
                  <a:lnTo>
                    <a:pt x="773" y="658"/>
                  </a:lnTo>
                  <a:lnTo>
                    <a:pt x="767" y="664"/>
                  </a:lnTo>
                  <a:lnTo>
                    <a:pt x="764" y="667"/>
                  </a:lnTo>
                  <a:lnTo>
                    <a:pt x="761" y="667"/>
                  </a:lnTo>
                  <a:lnTo>
                    <a:pt x="755" y="664"/>
                  </a:lnTo>
                  <a:lnTo>
                    <a:pt x="755" y="661"/>
                  </a:lnTo>
                  <a:lnTo>
                    <a:pt x="755" y="658"/>
                  </a:lnTo>
                  <a:lnTo>
                    <a:pt x="752" y="658"/>
                  </a:lnTo>
                  <a:lnTo>
                    <a:pt x="746" y="658"/>
                  </a:lnTo>
                  <a:lnTo>
                    <a:pt x="746" y="661"/>
                  </a:lnTo>
                  <a:lnTo>
                    <a:pt x="749" y="664"/>
                  </a:lnTo>
                  <a:lnTo>
                    <a:pt x="749" y="670"/>
                  </a:lnTo>
                  <a:lnTo>
                    <a:pt x="749" y="676"/>
                  </a:lnTo>
                  <a:lnTo>
                    <a:pt x="746" y="682"/>
                  </a:lnTo>
                  <a:lnTo>
                    <a:pt x="752" y="688"/>
                  </a:lnTo>
                  <a:lnTo>
                    <a:pt x="755" y="693"/>
                  </a:lnTo>
                  <a:lnTo>
                    <a:pt x="758" y="696"/>
                  </a:lnTo>
                  <a:lnTo>
                    <a:pt x="755" y="702"/>
                  </a:lnTo>
                  <a:lnTo>
                    <a:pt x="752" y="705"/>
                  </a:lnTo>
                  <a:lnTo>
                    <a:pt x="749" y="705"/>
                  </a:lnTo>
                  <a:lnTo>
                    <a:pt x="743" y="705"/>
                  </a:lnTo>
                  <a:lnTo>
                    <a:pt x="737" y="699"/>
                  </a:lnTo>
                  <a:lnTo>
                    <a:pt x="732" y="699"/>
                  </a:lnTo>
                  <a:lnTo>
                    <a:pt x="732" y="693"/>
                  </a:lnTo>
                  <a:lnTo>
                    <a:pt x="729" y="688"/>
                  </a:lnTo>
                  <a:lnTo>
                    <a:pt x="726" y="688"/>
                  </a:lnTo>
                  <a:lnTo>
                    <a:pt x="720" y="693"/>
                  </a:lnTo>
                  <a:lnTo>
                    <a:pt x="717" y="699"/>
                  </a:lnTo>
                  <a:lnTo>
                    <a:pt x="714" y="699"/>
                  </a:lnTo>
                  <a:lnTo>
                    <a:pt x="711" y="699"/>
                  </a:lnTo>
                  <a:lnTo>
                    <a:pt x="708" y="693"/>
                  </a:lnTo>
                  <a:lnTo>
                    <a:pt x="702" y="693"/>
                  </a:lnTo>
                  <a:lnTo>
                    <a:pt x="696" y="693"/>
                  </a:lnTo>
                  <a:lnTo>
                    <a:pt x="693" y="691"/>
                  </a:lnTo>
                  <a:lnTo>
                    <a:pt x="684" y="693"/>
                  </a:lnTo>
                  <a:lnTo>
                    <a:pt x="681" y="693"/>
                  </a:lnTo>
                  <a:lnTo>
                    <a:pt x="681" y="691"/>
                  </a:lnTo>
                  <a:lnTo>
                    <a:pt x="681" y="685"/>
                  </a:lnTo>
                  <a:lnTo>
                    <a:pt x="678" y="679"/>
                  </a:lnTo>
                  <a:lnTo>
                    <a:pt x="675" y="682"/>
                  </a:lnTo>
                  <a:lnTo>
                    <a:pt x="673" y="688"/>
                  </a:lnTo>
                  <a:lnTo>
                    <a:pt x="673" y="696"/>
                  </a:lnTo>
                  <a:lnTo>
                    <a:pt x="670" y="705"/>
                  </a:lnTo>
                  <a:lnTo>
                    <a:pt x="664" y="708"/>
                  </a:lnTo>
                  <a:lnTo>
                    <a:pt x="658" y="711"/>
                  </a:lnTo>
                  <a:lnTo>
                    <a:pt x="655" y="717"/>
                  </a:lnTo>
                  <a:lnTo>
                    <a:pt x="655" y="723"/>
                  </a:lnTo>
                  <a:lnTo>
                    <a:pt x="652" y="726"/>
                  </a:lnTo>
                  <a:lnTo>
                    <a:pt x="646" y="729"/>
                  </a:lnTo>
                  <a:lnTo>
                    <a:pt x="640" y="729"/>
                  </a:lnTo>
                  <a:lnTo>
                    <a:pt x="637" y="729"/>
                  </a:lnTo>
                  <a:lnTo>
                    <a:pt x="631" y="729"/>
                  </a:lnTo>
                  <a:lnTo>
                    <a:pt x="628" y="726"/>
                  </a:lnTo>
                  <a:lnTo>
                    <a:pt x="625" y="729"/>
                  </a:lnTo>
                  <a:lnTo>
                    <a:pt x="625" y="732"/>
                  </a:lnTo>
                  <a:lnTo>
                    <a:pt x="622" y="735"/>
                  </a:lnTo>
                  <a:lnTo>
                    <a:pt x="619" y="732"/>
                  </a:lnTo>
                  <a:lnTo>
                    <a:pt x="616" y="732"/>
                  </a:lnTo>
                  <a:lnTo>
                    <a:pt x="611" y="729"/>
                  </a:lnTo>
                  <a:lnTo>
                    <a:pt x="608" y="726"/>
                  </a:lnTo>
                  <a:lnTo>
                    <a:pt x="599" y="720"/>
                  </a:lnTo>
                  <a:lnTo>
                    <a:pt x="602" y="714"/>
                  </a:lnTo>
                  <a:lnTo>
                    <a:pt x="602" y="711"/>
                  </a:lnTo>
                  <a:lnTo>
                    <a:pt x="605" y="711"/>
                  </a:lnTo>
                  <a:lnTo>
                    <a:pt x="605" y="708"/>
                  </a:lnTo>
                  <a:lnTo>
                    <a:pt x="608" y="711"/>
                  </a:lnTo>
                  <a:lnTo>
                    <a:pt x="614" y="711"/>
                  </a:lnTo>
                  <a:lnTo>
                    <a:pt x="619" y="711"/>
                  </a:lnTo>
                  <a:lnTo>
                    <a:pt x="622" y="711"/>
                  </a:lnTo>
                  <a:lnTo>
                    <a:pt x="634" y="708"/>
                  </a:lnTo>
                  <a:lnTo>
                    <a:pt x="637" y="705"/>
                  </a:lnTo>
                  <a:lnTo>
                    <a:pt x="640" y="702"/>
                  </a:lnTo>
                  <a:lnTo>
                    <a:pt x="637" y="699"/>
                  </a:lnTo>
                  <a:lnTo>
                    <a:pt x="634" y="696"/>
                  </a:lnTo>
                  <a:lnTo>
                    <a:pt x="634" y="693"/>
                  </a:lnTo>
                  <a:lnTo>
                    <a:pt x="637" y="688"/>
                  </a:lnTo>
                  <a:lnTo>
                    <a:pt x="637" y="685"/>
                  </a:lnTo>
                  <a:lnTo>
                    <a:pt x="640" y="676"/>
                  </a:lnTo>
                  <a:lnTo>
                    <a:pt x="637" y="676"/>
                  </a:lnTo>
                  <a:lnTo>
                    <a:pt x="634" y="670"/>
                  </a:lnTo>
                  <a:lnTo>
                    <a:pt x="634" y="664"/>
                  </a:lnTo>
                  <a:lnTo>
                    <a:pt x="637" y="658"/>
                  </a:lnTo>
                  <a:lnTo>
                    <a:pt x="640" y="658"/>
                  </a:lnTo>
                  <a:lnTo>
                    <a:pt x="643" y="661"/>
                  </a:lnTo>
                  <a:lnTo>
                    <a:pt x="649" y="661"/>
                  </a:lnTo>
                  <a:lnTo>
                    <a:pt x="649" y="658"/>
                  </a:lnTo>
                  <a:lnTo>
                    <a:pt x="652" y="652"/>
                  </a:lnTo>
                  <a:lnTo>
                    <a:pt x="652" y="649"/>
                  </a:lnTo>
                  <a:lnTo>
                    <a:pt x="649" y="646"/>
                  </a:lnTo>
                  <a:lnTo>
                    <a:pt x="649" y="643"/>
                  </a:lnTo>
                  <a:lnTo>
                    <a:pt x="643" y="643"/>
                  </a:lnTo>
                  <a:lnTo>
                    <a:pt x="646" y="637"/>
                  </a:lnTo>
                  <a:lnTo>
                    <a:pt x="646" y="634"/>
                  </a:lnTo>
                  <a:lnTo>
                    <a:pt x="646" y="632"/>
                  </a:lnTo>
                  <a:lnTo>
                    <a:pt x="643" y="626"/>
                  </a:lnTo>
                  <a:lnTo>
                    <a:pt x="637" y="626"/>
                  </a:lnTo>
                  <a:lnTo>
                    <a:pt x="631" y="626"/>
                  </a:lnTo>
                  <a:lnTo>
                    <a:pt x="628" y="629"/>
                  </a:lnTo>
                  <a:lnTo>
                    <a:pt x="622" y="632"/>
                  </a:lnTo>
                  <a:lnTo>
                    <a:pt x="619" y="632"/>
                  </a:lnTo>
                  <a:lnTo>
                    <a:pt x="616" y="629"/>
                  </a:lnTo>
                  <a:lnTo>
                    <a:pt x="611" y="629"/>
                  </a:lnTo>
                  <a:lnTo>
                    <a:pt x="605" y="629"/>
                  </a:lnTo>
                  <a:lnTo>
                    <a:pt x="596" y="629"/>
                  </a:lnTo>
                  <a:lnTo>
                    <a:pt x="587" y="626"/>
                  </a:lnTo>
                  <a:lnTo>
                    <a:pt x="581" y="629"/>
                  </a:lnTo>
                  <a:lnTo>
                    <a:pt x="578" y="626"/>
                  </a:lnTo>
                  <a:lnTo>
                    <a:pt x="578" y="623"/>
                  </a:lnTo>
                  <a:lnTo>
                    <a:pt x="581" y="620"/>
                  </a:lnTo>
                  <a:lnTo>
                    <a:pt x="584" y="617"/>
                  </a:lnTo>
                  <a:lnTo>
                    <a:pt x="581" y="611"/>
                  </a:lnTo>
                  <a:lnTo>
                    <a:pt x="578" y="608"/>
                  </a:lnTo>
                  <a:lnTo>
                    <a:pt x="584" y="611"/>
                  </a:lnTo>
                  <a:lnTo>
                    <a:pt x="587" y="614"/>
                  </a:lnTo>
                  <a:lnTo>
                    <a:pt x="593" y="617"/>
                  </a:lnTo>
                  <a:lnTo>
                    <a:pt x="596" y="614"/>
                  </a:lnTo>
                  <a:lnTo>
                    <a:pt x="602" y="614"/>
                  </a:lnTo>
                  <a:lnTo>
                    <a:pt x="602" y="608"/>
                  </a:lnTo>
                  <a:lnTo>
                    <a:pt x="596" y="611"/>
                  </a:lnTo>
                  <a:lnTo>
                    <a:pt x="590" y="608"/>
                  </a:lnTo>
                  <a:lnTo>
                    <a:pt x="587" y="602"/>
                  </a:lnTo>
                  <a:lnTo>
                    <a:pt x="587" y="599"/>
                  </a:lnTo>
                  <a:lnTo>
                    <a:pt x="590" y="599"/>
                  </a:lnTo>
                  <a:lnTo>
                    <a:pt x="590" y="605"/>
                  </a:lnTo>
                  <a:lnTo>
                    <a:pt x="593" y="605"/>
                  </a:lnTo>
                  <a:lnTo>
                    <a:pt x="593" y="602"/>
                  </a:lnTo>
                  <a:lnTo>
                    <a:pt x="596" y="596"/>
                  </a:lnTo>
                  <a:lnTo>
                    <a:pt x="596" y="593"/>
                  </a:lnTo>
                  <a:lnTo>
                    <a:pt x="593" y="590"/>
                  </a:lnTo>
                  <a:lnTo>
                    <a:pt x="587" y="590"/>
                  </a:lnTo>
                  <a:lnTo>
                    <a:pt x="581" y="593"/>
                  </a:lnTo>
                  <a:lnTo>
                    <a:pt x="578" y="593"/>
                  </a:lnTo>
                  <a:lnTo>
                    <a:pt x="575" y="593"/>
                  </a:lnTo>
                  <a:lnTo>
                    <a:pt x="572" y="596"/>
                  </a:lnTo>
                  <a:lnTo>
                    <a:pt x="569" y="602"/>
                  </a:lnTo>
                  <a:lnTo>
                    <a:pt x="569" y="605"/>
                  </a:lnTo>
                  <a:lnTo>
                    <a:pt x="566" y="611"/>
                  </a:lnTo>
                  <a:lnTo>
                    <a:pt x="563" y="611"/>
                  </a:lnTo>
                  <a:lnTo>
                    <a:pt x="557" y="614"/>
                  </a:lnTo>
                  <a:lnTo>
                    <a:pt x="552" y="611"/>
                  </a:lnTo>
                  <a:lnTo>
                    <a:pt x="549" y="608"/>
                  </a:lnTo>
                  <a:lnTo>
                    <a:pt x="546" y="605"/>
                  </a:lnTo>
                  <a:lnTo>
                    <a:pt x="540" y="602"/>
                  </a:lnTo>
                  <a:lnTo>
                    <a:pt x="537" y="605"/>
                  </a:lnTo>
                  <a:lnTo>
                    <a:pt x="537" y="608"/>
                  </a:lnTo>
                  <a:lnTo>
                    <a:pt x="537" y="614"/>
                  </a:lnTo>
                  <a:lnTo>
                    <a:pt x="537" y="617"/>
                  </a:lnTo>
                  <a:lnTo>
                    <a:pt x="537" y="620"/>
                  </a:lnTo>
                  <a:lnTo>
                    <a:pt x="549" y="623"/>
                  </a:lnTo>
                  <a:lnTo>
                    <a:pt x="552" y="623"/>
                  </a:lnTo>
                  <a:lnTo>
                    <a:pt x="554" y="632"/>
                  </a:lnTo>
                  <a:lnTo>
                    <a:pt x="552" y="632"/>
                  </a:lnTo>
                  <a:lnTo>
                    <a:pt x="549" y="634"/>
                  </a:lnTo>
                  <a:lnTo>
                    <a:pt x="540" y="637"/>
                  </a:lnTo>
                  <a:lnTo>
                    <a:pt x="537" y="634"/>
                  </a:lnTo>
                  <a:lnTo>
                    <a:pt x="537" y="629"/>
                  </a:lnTo>
                  <a:lnTo>
                    <a:pt x="534" y="620"/>
                  </a:lnTo>
                  <a:lnTo>
                    <a:pt x="531" y="623"/>
                  </a:lnTo>
                  <a:lnTo>
                    <a:pt x="531" y="629"/>
                  </a:lnTo>
                  <a:lnTo>
                    <a:pt x="531" y="632"/>
                  </a:lnTo>
                  <a:lnTo>
                    <a:pt x="531" y="634"/>
                  </a:lnTo>
                  <a:lnTo>
                    <a:pt x="531" y="637"/>
                  </a:lnTo>
                  <a:lnTo>
                    <a:pt x="531" y="640"/>
                  </a:lnTo>
                  <a:lnTo>
                    <a:pt x="528" y="640"/>
                  </a:lnTo>
                  <a:lnTo>
                    <a:pt x="525" y="646"/>
                  </a:lnTo>
                  <a:lnTo>
                    <a:pt x="525" y="652"/>
                  </a:lnTo>
                  <a:lnTo>
                    <a:pt x="528" y="652"/>
                  </a:lnTo>
                  <a:lnTo>
                    <a:pt x="534" y="658"/>
                  </a:lnTo>
                  <a:lnTo>
                    <a:pt x="534" y="664"/>
                  </a:lnTo>
                  <a:lnTo>
                    <a:pt x="531" y="667"/>
                  </a:lnTo>
                  <a:lnTo>
                    <a:pt x="528" y="673"/>
                  </a:lnTo>
                  <a:lnTo>
                    <a:pt x="525" y="676"/>
                  </a:lnTo>
                  <a:lnTo>
                    <a:pt x="525" y="679"/>
                  </a:lnTo>
                  <a:lnTo>
                    <a:pt x="531" y="679"/>
                  </a:lnTo>
                  <a:lnTo>
                    <a:pt x="537" y="682"/>
                  </a:lnTo>
                  <a:lnTo>
                    <a:pt x="540" y="685"/>
                  </a:lnTo>
                  <a:lnTo>
                    <a:pt x="540" y="691"/>
                  </a:lnTo>
                  <a:lnTo>
                    <a:pt x="540" y="696"/>
                  </a:lnTo>
                  <a:lnTo>
                    <a:pt x="546" y="702"/>
                  </a:lnTo>
                  <a:lnTo>
                    <a:pt x="546" y="708"/>
                  </a:lnTo>
                  <a:lnTo>
                    <a:pt x="546" y="714"/>
                  </a:lnTo>
                  <a:lnTo>
                    <a:pt x="543" y="720"/>
                  </a:lnTo>
                  <a:lnTo>
                    <a:pt x="543" y="726"/>
                  </a:lnTo>
                  <a:lnTo>
                    <a:pt x="543" y="732"/>
                  </a:lnTo>
                  <a:lnTo>
                    <a:pt x="540" y="738"/>
                  </a:lnTo>
                  <a:lnTo>
                    <a:pt x="537" y="741"/>
                  </a:lnTo>
                  <a:lnTo>
                    <a:pt x="537" y="747"/>
                  </a:lnTo>
                  <a:lnTo>
                    <a:pt x="534" y="750"/>
                  </a:lnTo>
                  <a:lnTo>
                    <a:pt x="525" y="755"/>
                  </a:lnTo>
                  <a:lnTo>
                    <a:pt x="519" y="758"/>
                  </a:lnTo>
                  <a:lnTo>
                    <a:pt x="510" y="761"/>
                  </a:lnTo>
                  <a:lnTo>
                    <a:pt x="507" y="764"/>
                  </a:lnTo>
                  <a:lnTo>
                    <a:pt x="504" y="764"/>
                  </a:lnTo>
                  <a:lnTo>
                    <a:pt x="501" y="767"/>
                  </a:lnTo>
                  <a:lnTo>
                    <a:pt x="498" y="770"/>
                  </a:lnTo>
                  <a:lnTo>
                    <a:pt x="493" y="776"/>
                  </a:lnTo>
                  <a:lnTo>
                    <a:pt x="493" y="782"/>
                  </a:lnTo>
                  <a:lnTo>
                    <a:pt x="498" y="782"/>
                  </a:lnTo>
                  <a:lnTo>
                    <a:pt x="501" y="785"/>
                  </a:lnTo>
                  <a:lnTo>
                    <a:pt x="504" y="788"/>
                  </a:lnTo>
                  <a:lnTo>
                    <a:pt x="507" y="788"/>
                  </a:lnTo>
                  <a:lnTo>
                    <a:pt x="510" y="788"/>
                  </a:lnTo>
                  <a:lnTo>
                    <a:pt x="513" y="791"/>
                  </a:lnTo>
                  <a:lnTo>
                    <a:pt x="519" y="791"/>
                  </a:lnTo>
                  <a:lnTo>
                    <a:pt x="516" y="794"/>
                  </a:lnTo>
                  <a:lnTo>
                    <a:pt x="510" y="797"/>
                  </a:lnTo>
                  <a:lnTo>
                    <a:pt x="507" y="797"/>
                  </a:lnTo>
                  <a:lnTo>
                    <a:pt x="495" y="803"/>
                  </a:lnTo>
                  <a:lnTo>
                    <a:pt x="490" y="806"/>
                  </a:lnTo>
                  <a:lnTo>
                    <a:pt x="487" y="806"/>
                  </a:lnTo>
                  <a:lnTo>
                    <a:pt x="481" y="806"/>
                  </a:lnTo>
                  <a:lnTo>
                    <a:pt x="475" y="803"/>
                  </a:lnTo>
                  <a:lnTo>
                    <a:pt x="472" y="806"/>
                  </a:lnTo>
                  <a:lnTo>
                    <a:pt x="469" y="806"/>
                  </a:lnTo>
                  <a:lnTo>
                    <a:pt x="466" y="803"/>
                  </a:lnTo>
                  <a:lnTo>
                    <a:pt x="466" y="800"/>
                  </a:lnTo>
                  <a:lnTo>
                    <a:pt x="463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5" y="779"/>
                  </a:lnTo>
                  <a:lnTo>
                    <a:pt x="439" y="779"/>
                  </a:lnTo>
                  <a:lnTo>
                    <a:pt x="436" y="773"/>
                  </a:lnTo>
                  <a:lnTo>
                    <a:pt x="433" y="770"/>
                  </a:lnTo>
                  <a:lnTo>
                    <a:pt x="431" y="770"/>
                  </a:lnTo>
                  <a:lnTo>
                    <a:pt x="431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2" y="773"/>
                  </a:lnTo>
                  <a:lnTo>
                    <a:pt x="422" y="770"/>
                  </a:lnTo>
                  <a:lnTo>
                    <a:pt x="422" y="767"/>
                  </a:lnTo>
                  <a:lnTo>
                    <a:pt x="422" y="764"/>
                  </a:lnTo>
                  <a:lnTo>
                    <a:pt x="416" y="758"/>
                  </a:lnTo>
                  <a:lnTo>
                    <a:pt x="410" y="758"/>
                  </a:lnTo>
                  <a:lnTo>
                    <a:pt x="404" y="761"/>
                  </a:lnTo>
                  <a:lnTo>
                    <a:pt x="404" y="758"/>
                  </a:lnTo>
                  <a:lnTo>
                    <a:pt x="398" y="758"/>
                  </a:lnTo>
                  <a:lnTo>
                    <a:pt x="398" y="752"/>
                  </a:lnTo>
                  <a:lnTo>
                    <a:pt x="398" y="750"/>
                  </a:lnTo>
                  <a:lnTo>
                    <a:pt x="398" y="747"/>
                  </a:lnTo>
                  <a:lnTo>
                    <a:pt x="401" y="744"/>
                  </a:lnTo>
                  <a:lnTo>
                    <a:pt x="398" y="738"/>
                  </a:lnTo>
                  <a:lnTo>
                    <a:pt x="395" y="735"/>
                  </a:lnTo>
                  <a:lnTo>
                    <a:pt x="386" y="738"/>
                  </a:lnTo>
                  <a:lnTo>
                    <a:pt x="386" y="735"/>
                  </a:lnTo>
                  <a:lnTo>
                    <a:pt x="386" y="732"/>
                  </a:lnTo>
                  <a:lnTo>
                    <a:pt x="383" y="729"/>
                  </a:lnTo>
                  <a:lnTo>
                    <a:pt x="383" y="726"/>
                  </a:lnTo>
                  <a:lnTo>
                    <a:pt x="377" y="723"/>
                  </a:lnTo>
                  <a:lnTo>
                    <a:pt x="372" y="720"/>
                  </a:lnTo>
                  <a:lnTo>
                    <a:pt x="374" y="717"/>
                  </a:lnTo>
                  <a:lnTo>
                    <a:pt x="374" y="711"/>
                  </a:lnTo>
                  <a:lnTo>
                    <a:pt x="377" y="708"/>
                  </a:lnTo>
                  <a:lnTo>
                    <a:pt x="380" y="702"/>
                  </a:lnTo>
                  <a:lnTo>
                    <a:pt x="380" y="696"/>
                  </a:lnTo>
                  <a:lnTo>
                    <a:pt x="380" y="693"/>
                  </a:lnTo>
                  <a:lnTo>
                    <a:pt x="377" y="691"/>
                  </a:lnTo>
                  <a:lnTo>
                    <a:pt x="377" y="688"/>
                  </a:lnTo>
                  <a:lnTo>
                    <a:pt x="374" y="685"/>
                  </a:lnTo>
                  <a:lnTo>
                    <a:pt x="372" y="691"/>
                  </a:lnTo>
                  <a:lnTo>
                    <a:pt x="369" y="693"/>
                  </a:lnTo>
                  <a:lnTo>
                    <a:pt x="363" y="696"/>
                  </a:lnTo>
                  <a:lnTo>
                    <a:pt x="360" y="691"/>
                  </a:lnTo>
                  <a:lnTo>
                    <a:pt x="360" y="688"/>
                  </a:lnTo>
                  <a:lnTo>
                    <a:pt x="357" y="685"/>
                  </a:lnTo>
                  <a:lnTo>
                    <a:pt x="354" y="682"/>
                  </a:lnTo>
                  <a:lnTo>
                    <a:pt x="351" y="679"/>
                  </a:lnTo>
                  <a:lnTo>
                    <a:pt x="348" y="676"/>
                  </a:lnTo>
                  <a:lnTo>
                    <a:pt x="348" y="670"/>
                  </a:lnTo>
                  <a:lnTo>
                    <a:pt x="348" y="661"/>
                  </a:lnTo>
                  <a:lnTo>
                    <a:pt x="354" y="658"/>
                  </a:lnTo>
                  <a:lnTo>
                    <a:pt x="354" y="655"/>
                  </a:lnTo>
                  <a:lnTo>
                    <a:pt x="351" y="652"/>
                  </a:lnTo>
                  <a:lnTo>
                    <a:pt x="351" y="649"/>
                  </a:lnTo>
                  <a:lnTo>
                    <a:pt x="351" y="643"/>
                  </a:lnTo>
                  <a:lnTo>
                    <a:pt x="351" y="640"/>
                  </a:lnTo>
                  <a:lnTo>
                    <a:pt x="351" y="637"/>
                  </a:lnTo>
                  <a:lnTo>
                    <a:pt x="345" y="637"/>
                  </a:lnTo>
                  <a:lnTo>
                    <a:pt x="339" y="640"/>
                  </a:lnTo>
                  <a:lnTo>
                    <a:pt x="336" y="646"/>
                  </a:lnTo>
                  <a:lnTo>
                    <a:pt x="336" y="649"/>
                  </a:lnTo>
                  <a:lnTo>
                    <a:pt x="330" y="652"/>
                  </a:lnTo>
                  <a:lnTo>
                    <a:pt x="327" y="652"/>
                  </a:lnTo>
                  <a:lnTo>
                    <a:pt x="321" y="649"/>
                  </a:lnTo>
                  <a:lnTo>
                    <a:pt x="318" y="649"/>
                  </a:lnTo>
                  <a:lnTo>
                    <a:pt x="312" y="649"/>
                  </a:lnTo>
                  <a:lnTo>
                    <a:pt x="307" y="646"/>
                  </a:lnTo>
                  <a:lnTo>
                    <a:pt x="307" y="640"/>
                  </a:lnTo>
                  <a:lnTo>
                    <a:pt x="304" y="637"/>
                  </a:lnTo>
                  <a:lnTo>
                    <a:pt x="301" y="634"/>
                  </a:lnTo>
                  <a:lnTo>
                    <a:pt x="298" y="634"/>
                  </a:lnTo>
                  <a:lnTo>
                    <a:pt x="295" y="632"/>
                  </a:lnTo>
                  <a:lnTo>
                    <a:pt x="289" y="632"/>
                  </a:lnTo>
                  <a:lnTo>
                    <a:pt x="289" y="634"/>
                  </a:lnTo>
                  <a:lnTo>
                    <a:pt x="286" y="637"/>
                  </a:lnTo>
                  <a:lnTo>
                    <a:pt x="283" y="640"/>
                  </a:lnTo>
                  <a:lnTo>
                    <a:pt x="280" y="637"/>
                  </a:lnTo>
                  <a:lnTo>
                    <a:pt x="280" y="634"/>
                  </a:lnTo>
                  <a:lnTo>
                    <a:pt x="280" y="632"/>
                  </a:lnTo>
                  <a:lnTo>
                    <a:pt x="280" y="629"/>
                  </a:lnTo>
                  <a:lnTo>
                    <a:pt x="277" y="629"/>
                  </a:lnTo>
                  <a:lnTo>
                    <a:pt x="274" y="629"/>
                  </a:lnTo>
                  <a:lnTo>
                    <a:pt x="271" y="623"/>
                  </a:lnTo>
                  <a:lnTo>
                    <a:pt x="265" y="623"/>
                  </a:lnTo>
                  <a:lnTo>
                    <a:pt x="262" y="620"/>
                  </a:lnTo>
                  <a:lnTo>
                    <a:pt x="271" y="620"/>
                  </a:lnTo>
                  <a:lnTo>
                    <a:pt x="271" y="617"/>
                  </a:lnTo>
                  <a:lnTo>
                    <a:pt x="271" y="614"/>
                  </a:lnTo>
                  <a:lnTo>
                    <a:pt x="262" y="614"/>
                  </a:lnTo>
                  <a:lnTo>
                    <a:pt x="251" y="614"/>
                  </a:lnTo>
                  <a:lnTo>
                    <a:pt x="248" y="611"/>
                  </a:lnTo>
                  <a:lnTo>
                    <a:pt x="242" y="608"/>
                  </a:lnTo>
                  <a:lnTo>
                    <a:pt x="239" y="605"/>
                  </a:lnTo>
                  <a:lnTo>
                    <a:pt x="236" y="605"/>
                  </a:lnTo>
                  <a:lnTo>
                    <a:pt x="233" y="608"/>
                  </a:lnTo>
                  <a:lnTo>
                    <a:pt x="230" y="611"/>
                  </a:lnTo>
                  <a:lnTo>
                    <a:pt x="227" y="611"/>
                  </a:lnTo>
                  <a:lnTo>
                    <a:pt x="224" y="608"/>
                  </a:lnTo>
                  <a:lnTo>
                    <a:pt x="221" y="608"/>
                  </a:lnTo>
                  <a:lnTo>
                    <a:pt x="218" y="611"/>
                  </a:lnTo>
                  <a:lnTo>
                    <a:pt x="215" y="611"/>
                  </a:lnTo>
                  <a:lnTo>
                    <a:pt x="212" y="608"/>
                  </a:lnTo>
                  <a:lnTo>
                    <a:pt x="209" y="608"/>
                  </a:lnTo>
                  <a:lnTo>
                    <a:pt x="209" y="605"/>
                  </a:lnTo>
                  <a:lnTo>
                    <a:pt x="200" y="608"/>
                  </a:lnTo>
                  <a:lnTo>
                    <a:pt x="197" y="605"/>
                  </a:lnTo>
                  <a:lnTo>
                    <a:pt x="194" y="605"/>
                  </a:lnTo>
                  <a:lnTo>
                    <a:pt x="189" y="602"/>
                  </a:lnTo>
                  <a:lnTo>
                    <a:pt x="180" y="602"/>
                  </a:lnTo>
                  <a:lnTo>
                    <a:pt x="171" y="605"/>
                  </a:lnTo>
                  <a:lnTo>
                    <a:pt x="162" y="605"/>
                  </a:lnTo>
                  <a:lnTo>
                    <a:pt x="153" y="602"/>
                  </a:lnTo>
                  <a:lnTo>
                    <a:pt x="147" y="599"/>
                  </a:lnTo>
                  <a:lnTo>
                    <a:pt x="141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1" name="Freeform 12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310147" y="1410314"/>
              <a:ext cx="128381" cy="130444"/>
            </a:xfrm>
            <a:custGeom>
              <a:avLst/>
              <a:gdLst>
                <a:gd name="T0" fmla="*/ 328 w 777"/>
                <a:gd name="T1" fmla="*/ 198 h 735"/>
                <a:gd name="T2" fmla="*/ 343 w 777"/>
                <a:gd name="T3" fmla="*/ 192 h 735"/>
                <a:gd name="T4" fmla="*/ 358 w 777"/>
                <a:gd name="T5" fmla="*/ 201 h 735"/>
                <a:gd name="T6" fmla="*/ 378 w 777"/>
                <a:gd name="T7" fmla="*/ 212 h 735"/>
                <a:gd name="T8" fmla="*/ 396 w 777"/>
                <a:gd name="T9" fmla="*/ 221 h 735"/>
                <a:gd name="T10" fmla="*/ 428 w 777"/>
                <a:gd name="T11" fmla="*/ 248 h 735"/>
                <a:gd name="T12" fmla="*/ 464 w 777"/>
                <a:gd name="T13" fmla="*/ 268 h 735"/>
                <a:gd name="T14" fmla="*/ 508 w 777"/>
                <a:gd name="T15" fmla="*/ 280 h 735"/>
                <a:gd name="T16" fmla="*/ 555 w 777"/>
                <a:gd name="T17" fmla="*/ 301 h 735"/>
                <a:gd name="T18" fmla="*/ 576 w 777"/>
                <a:gd name="T19" fmla="*/ 322 h 735"/>
                <a:gd name="T20" fmla="*/ 623 w 777"/>
                <a:gd name="T21" fmla="*/ 330 h 735"/>
                <a:gd name="T22" fmla="*/ 641 w 777"/>
                <a:gd name="T23" fmla="*/ 325 h 735"/>
                <a:gd name="T24" fmla="*/ 697 w 777"/>
                <a:gd name="T25" fmla="*/ 348 h 735"/>
                <a:gd name="T26" fmla="*/ 729 w 777"/>
                <a:gd name="T27" fmla="*/ 389 h 735"/>
                <a:gd name="T28" fmla="*/ 732 w 777"/>
                <a:gd name="T29" fmla="*/ 416 h 735"/>
                <a:gd name="T30" fmla="*/ 723 w 777"/>
                <a:gd name="T31" fmla="*/ 457 h 735"/>
                <a:gd name="T32" fmla="*/ 732 w 777"/>
                <a:gd name="T33" fmla="*/ 487 h 735"/>
                <a:gd name="T34" fmla="*/ 765 w 777"/>
                <a:gd name="T35" fmla="*/ 502 h 735"/>
                <a:gd name="T36" fmla="*/ 756 w 777"/>
                <a:gd name="T37" fmla="*/ 519 h 735"/>
                <a:gd name="T38" fmla="*/ 729 w 777"/>
                <a:gd name="T39" fmla="*/ 519 h 735"/>
                <a:gd name="T40" fmla="*/ 697 w 777"/>
                <a:gd name="T41" fmla="*/ 543 h 735"/>
                <a:gd name="T42" fmla="*/ 647 w 777"/>
                <a:gd name="T43" fmla="*/ 617 h 735"/>
                <a:gd name="T44" fmla="*/ 650 w 777"/>
                <a:gd name="T45" fmla="*/ 690 h 735"/>
                <a:gd name="T46" fmla="*/ 579 w 777"/>
                <a:gd name="T47" fmla="*/ 705 h 735"/>
                <a:gd name="T48" fmla="*/ 546 w 777"/>
                <a:gd name="T49" fmla="*/ 643 h 735"/>
                <a:gd name="T50" fmla="*/ 496 w 777"/>
                <a:gd name="T51" fmla="*/ 623 h 735"/>
                <a:gd name="T52" fmla="*/ 446 w 777"/>
                <a:gd name="T53" fmla="*/ 596 h 735"/>
                <a:gd name="T54" fmla="*/ 396 w 777"/>
                <a:gd name="T55" fmla="*/ 614 h 735"/>
                <a:gd name="T56" fmla="*/ 366 w 777"/>
                <a:gd name="T57" fmla="*/ 596 h 735"/>
                <a:gd name="T58" fmla="*/ 337 w 777"/>
                <a:gd name="T59" fmla="*/ 599 h 735"/>
                <a:gd name="T60" fmla="*/ 322 w 777"/>
                <a:gd name="T61" fmla="*/ 566 h 735"/>
                <a:gd name="T62" fmla="*/ 251 w 777"/>
                <a:gd name="T63" fmla="*/ 593 h 735"/>
                <a:gd name="T64" fmla="*/ 213 w 777"/>
                <a:gd name="T65" fmla="*/ 584 h 735"/>
                <a:gd name="T66" fmla="*/ 169 w 777"/>
                <a:gd name="T67" fmla="*/ 584 h 735"/>
                <a:gd name="T68" fmla="*/ 175 w 777"/>
                <a:gd name="T69" fmla="*/ 555 h 735"/>
                <a:gd name="T70" fmla="*/ 139 w 777"/>
                <a:gd name="T71" fmla="*/ 561 h 735"/>
                <a:gd name="T72" fmla="*/ 157 w 777"/>
                <a:gd name="T73" fmla="*/ 655 h 735"/>
                <a:gd name="T74" fmla="*/ 166 w 777"/>
                <a:gd name="T75" fmla="*/ 693 h 735"/>
                <a:gd name="T76" fmla="*/ 104 w 777"/>
                <a:gd name="T77" fmla="*/ 664 h 735"/>
                <a:gd name="T78" fmla="*/ 101 w 777"/>
                <a:gd name="T79" fmla="*/ 631 h 735"/>
                <a:gd name="T80" fmla="*/ 113 w 777"/>
                <a:gd name="T81" fmla="*/ 593 h 735"/>
                <a:gd name="T82" fmla="*/ 121 w 777"/>
                <a:gd name="T83" fmla="*/ 549 h 735"/>
                <a:gd name="T84" fmla="*/ 166 w 777"/>
                <a:gd name="T85" fmla="*/ 513 h 735"/>
                <a:gd name="T86" fmla="*/ 192 w 777"/>
                <a:gd name="T87" fmla="*/ 457 h 735"/>
                <a:gd name="T88" fmla="*/ 177 w 777"/>
                <a:gd name="T89" fmla="*/ 419 h 735"/>
                <a:gd name="T90" fmla="*/ 154 w 777"/>
                <a:gd name="T91" fmla="*/ 404 h 735"/>
                <a:gd name="T92" fmla="*/ 121 w 777"/>
                <a:gd name="T93" fmla="*/ 398 h 735"/>
                <a:gd name="T94" fmla="*/ 101 w 777"/>
                <a:gd name="T95" fmla="*/ 384 h 735"/>
                <a:gd name="T96" fmla="*/ 24 w 777"/>
                <a:gd name="T97" fmla="*/ 401 h 735"/>
                <a:gd name="T98" fmla="*/ 42 w 777"/>
                <a:gd name="T99" fmla="*/ 363 h 735"/>
                <a:gd name="T100" fmla="*/ 21 w 777"/>
                <a:gd name="T101" fmla="*/ 307 h 735"/>
                <a:gd name="T102" fmla="*/ 33 w 777"/>
                <a:gd name="T103" fmla="*/ 254 h 735"/>
                <a:gd name="T104" fmla="*/ 39 w 777"/>
                <a:gd name="T105" fmla="*/ 236 h 735"/>
                <a:gd name="T106" fmla="*/ 33 w 777"/>
                <a:gd name="T107" fmla="*/ 212 h 735"/>
                <a:gd name="T108" fmla="*/ 6 w 777"/>
                <a:gd name="T109" fmla="*/ 171 h 735"/>
                <a:gd name="T110" fmla="*/ 3 w 777"/>
                <a:gd name="T111" fmla="*/ 145 h 735"/>
                <a:gd name="T112" fmla="*/ 3 w 777"/>
                <a:gd name="T113" fmla="*/ 109 h 735"/>
                <a:gd name="T114" fmla="*/ 0 w 777"/>
                <a:gd name="T115" fmla="*/ 77 h 735"/>
                <a:gd name="T116" fmla="*/ 15 w 777"/>
                <a:gd name="T117" fmla="*/ 38 h 735"/>
                <a:gd name="T118" fmla="*/ 65 w 777"/>
                <a:gd name="T119" fmla="*/ 41 h 735"/>
                <a:gd name="T120" fmla="*/ 183 w 777"/>
                <a:gd name="T121" fmla="*/ 103 h 735"/>
                <a:gd name="T122" fmla="*/ 269 w 777"/>
                <a:gd name="T123" fmla="*/ 162 h 7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7"/>
                <a:gd name="T187" fmla="*/ 0 h 735"/>
                <a:gd name="T188" fmla="*/ 777 w 777"/>
                <a:gd name="T189" fmla="*/ 735 h 7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7" h="735">
                  <a:moveTo>
                    <a:pt x="293" y="177"/>
                  </a:moveTo>
                  <a:lnTo>
                    <a:pt x="298" y="174"/>
                  </a:lnTo>
                  <a:lnTo>
                    <a:pt x="304" y="174"/>
                  </a:lnTo>
                  <a:lnTo>
                    <a:pt x="310" y="180"/>
                  </a:lnTo>
                  <a:lnTo>
                    <a:pt x="313" y="183"/>
                  </a:lnTo>
                  <a:lnTo>
                    <a:pt x="316" y="183"/>
                  </a:lnTo>
                  <a:lnTo>
                    <a:pt x="319" y="183"/>
                  </a:lnTo>
                  <a:lnTo>
                    <a:pt x="319" y="186"/>
                  </a:lnTo>
                  <a:lnTo>
                    <a:pt x="316" y="186"/>
                  </a:lnTo>
                  <a:lnTo>
                    <a:pt x="319" y="189"/>
                  </a:lnTo>
                  <a:lnTo>
                    <a:pt x="322" y="189"/>
                  </a:lnTo>
                  <a:lnTo>
                    <a:pt x="322" y="192"/>
                  </a:lnTo>
                  <a:lnTo>
                    <a:pt x="325" y="192"/>
                  </a:lnTo>
                  <a:lnTo>
                    <a:pt x="328" y="195"/>
                  </a:lnTo>
                  <a:lnTo>
                    <a:pt x="328" y="198"/>
                  </a:lnTo>
                  <a:lnTo>
                    <a:pt x="331" y="198"/>
                  </a:lnTo>
                  <a:lnTo>
                    <a:pt x="334" y="195"/>
                  </a:lnTo>
                  <a:lnTo>
                    <a:pt x="337" y="195"/>
                  </a:lnTo>
                  <a:lnTo>
                    <a:pt x="337" y="198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0" y="204"/>
                  </a:lnTo>
                  <a:lnTo>
                    <a:pt x="343" y="204"/>
                  </a:lnTo>
                  <a:lnTo>
                    <a:pt x="343" y="206"/>
                  </a:lnTo>
                  <a:lnTo>
                    <a:pt x="343" y="204"/>
                  </a:lnTo>
                  <a:lnTo>
                    <a:pt x="346" y="204"/>
                  </a:lnTo>
                  <a:lnTo>
                    <a:pt x="343" y="204"/>
                  </a:lnTo>
                  <a:lnTo>
                    <a:pt x="343" y="201"/>
                  </a:lnTo>
                  <a:lnTo>
                    <a:pt x="343" y="198"/>
                  </a:lnTo>
                  <a:lnTo>
                    <a:pt x="343" y="192"/>
                  </a:lnTo>
                  <a:lnTo>
                    <a:pt x="346" y="189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49" y="189"/>
                  </a:lnTo>
                  <a:lnTo>
                    <a:pt x="349" y="192"/>
                  </a:lnTo>
                  <a:lnTo>
                    <a:pt x="352" y="192"/>
                  </a:lnTo>
                  <a:lnTo>
                    <a:pt x="352" y="195"/>
                  </a:lnTo>
                  <a:lnTo>
                    <a:pt x="355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60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60" y="201"/>
                  </a:lnTo>
                  <a:lnTo>
                    <a:pt x="360" y="198"/>
                  </a:lnTo>
                  <a:lnTo>
                    <a:pt x="360" y="201"/>
                  </a:lnTo>
                  <a:lnTo>
                    <a:pt x="363" y="201"/>
                  </a:lnTo>
                  <a:lnTo>
                    <a:pt x="360" y="201"/>
                  </a:lnTo>
                  <a:lnTo>
                    <a:pt x="360" y="204"/>
                  </a:lnTo>
                  <a:lnTo>
                    <a:pt x="363" y="201"/>
                  </a:lnTo>
                  <a:lnTo>
                    <a:pt x="363" y="204"/>
                  </a:lnTo>
                  <a:lnTo>
                    <a:pt x="366" y="204"/>
                  </a:lnTo>
                  <a:lnTo>
                    <a:pt x="369" y="204"/>
                  </a:lnTo>
                  <a:lnTo>
                    <a:pt x="369" y="206"/>
                  </a:lnTo>
                  <a:lnTo>
                    <a:pt x="372" y="206"/>
                  </a:lnTo>
                  <a:lnTo>
                    <a:pt x="372" y="209"/>
                  </a:lnTo>
                  <a:lnTo>
                    <a:pt x="375" y="209"/>
                  </a:lnTo>
                  <a:lnTo>
                    <a:pt x="378" y="212"/>
                  </a:lnTo>
                  <a:lnTo>
                    <a:pt x="378" y="209"/>
                  </a:lnTo>
                  <a:lnTo>
                    <a:pt x="381" y="209"/>
                  </a:lnTo>
                  <a:lnTo>
                    <a:pt x="381" y="212"/>
                  </a:lnTo>
                  <a:lnTo>
                    <a:pt x="384" y="212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5"/>
                  </a:lnTo>
                  <a:lnTo>
                    <a:pt x="390" y="218"/>
                  </a:lnTo>
                  <a:lnTo>
                    <a:pt x="393" y="218"/>
                  </a:lnTo>
                  <a:lnTo>
                    <a:pt x="393" y="215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21"/>
                  </a:lnTo>
                  <a:lnTo>
                    <a:pt x="396" y="224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399" y="224"/>
                  </a:lnTo>
                  <a:lnTo>
                    <a:pt x="402" y="224"/>
                  </a:lnTo>
                  <a:lnTo>
                    <a:pt x="405" y="224"/>
                  </a:lnTo>
                  <a:lnTo>
                    <a:pt x="408" y="224"/>
                  </a:lnTo>
                  <a:lnTo>
                    <a:pt x="414" y="227"/>
                  </a:lnTo>
                  <a:lnTo>
                    <a:pt x="417" y="230"/>
                  </a:lnTo>
                  <a:lnTo>
                    <a:pt x="417" y="233"/>
                  </a:lnTo>
                  <a:lnTo>
                    <a:pt x="417" y="236"/>
                  </a:lnTo>
                  <a:lnTo>
                    <a:pt x="419" y="242"/>
                  </a:lnTo>
                  <a:lnTo>
                    <a:pt x="422" y="242"/>
                  </a:lnTo>
                  <a:lnTo>
                    <a:pt x="425" y="248"/>
                  </a:lnTo>
                  <a:lnTo>
                    <a:pt x="428" y="248"/>
                  </a:lnTo>
                  <a:lnTo>
                    <a:pt x="431" y="248"/>
                  </a:lnTo>
                  <a:lnTo>
                    <a:pt x="434" y="248"/>
                  </a:lnTo>
                  <a:lnTo>
                    <a:pt x="437" y="248"/>
                  </a:lnTo>
                  <a:lnTo>
                    <a:pt x="437" y="251"/>
                  </a:lnTo>
                  <a:lnTo>
                    <a:pt x="440" y="251"/>
                  </a:lnTo>
                  <a:lnTo>
                    <a:pt x="440" y="254"/>
                  </a:lnTo>
                  <a:lnTo>
                    <a:pt x="443" y="254"/>
                  </a:lnTo>
                  <a:lnTo>
                    <a:pt x="443" y="257"/>
                  </a:lnTo>
                  <a:lnTo>
                    <a:pt x="443" y="260"/>
                  </a:lnTo>
                  <a:lnTo>
                    <a:pt x="446" y="260"/>
                  </a:lnTo>
                  <a:lnTo>
                    <a:pt x="449" y="260"/>
                  </a:lnTo>
                  <a:lnTo>
                    <a:pt x="455" y="265"/>
                  </a:lnTo>
                  <a:lnTo>
                    <a:pt x="458" y="265"/>
                  </a:lnTo>
                  <a:lnTo>
                    <a:pt x="458" y="268"/>
                  </a:lnTo>
                  <a:lnTo>
                    <a:pt x="464" y="268"/>
                  </a:lnTo>
                  <a:lnTo>
                    <a:pt x="467" y="268"/>
                  </a:lnTo>
                  <a:lnTo>
                    <a:pt x="476" y="277"/>
                  </a:lnTo>
                  <a:lnTo>
                    <a:pt x="479" y="277"/>
                  </a:lnTo>
                  <a:lnTo>
                    <a:pt x="479" y="280"/>
                  </a:lnTo>
                  <a:lnTo>
                    <a:pt x="481" y="280"/>
                  </a:lnTo>
                  <a:lnTo>
                    <a:pt x="484" y="283"/>
                  </a:lnTo>
                  <a:lnTo>
                    <a:pt x="487" y="283"/>
                  </a:lnTo>
                  <a:lnTo>
                    <a:pt x="487" y="280"/>
                  </a:lnTo>
                  <a:lnTo>
                    <a:pt x="490" y="280"/>
                  </a:lnTo>
                  <a:lnTo>
                    <a:pt x="493" y="274"/>
                  </a:lnTo>
                  <a:lnTo>
                    <a:pt x="496" y="274"/>
                  </a:lnTo>
                  <a:lnTo>
                    <a:pt x="502" y="274"/>
                  </a:lnTo>
                  <a:lnTo>
                    <a:pt x="505" y="277"/>
                  </a:lnTo>
                  <a:lnTo>
                    <a:pt x="505" y="280"/>
                  </a:lnTo>
                  <a:lnTo>
                    <a:pt x="508" y="280"/>
                  </a:lnTo>
                  <a:lnTo>
                    <a:pt x="511" y="283"/>
                  </a:lnTo>
                  <a:lnTo>
                    <a:pt x="514" y="283"/>
                  </a:lnTo>
                  <a:lnTo>
                    <a:pt x="517" y="286"/>
                  </a:lnTo>
                  <a:lnTo>
                    <a:pt x="520" y="286"/>
                  </a:lnTo>
                  <a:lnTo>
                    <a:pt x="526" y="289"/>
                  </a:lnTo>
                  <a:lnTo>
                    <a:pt x="526" y="292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5" y="298"/>
                  </a:lnTo>
                  <a:lnTo>
                    <a:pt x="540" y="301"/>
                  </a:lnTo>
                  <a:lnTo>
                    <a:pt x="543" y="301"/>
                  </a:lnTo>
                  <a:lnTo>
                    <a:pt x="546" y="301"/>
                  </a:lnTo>
                  <a:lnTo>
                    <a:pt x="549" y="301"/>
                  </a:lnTo>
                  <a:lnTo>
                    <a:pt x="552" y="301"/>
                  </a:lnTo>
                  <a:lnTo>
                    <a:pt x="555" y="301"/>
                  </a:lnTo>
                  <a:lnTo>
                    <a:pt x="558" y="301"/>
                  </a:lnTo>
                  <a:lnTo>
                    <a:pt x="558" y="298"/>
                  </a:lnTo>
                  <a:lnTo>
                    <a:pt x="561" y="298"/>
                  </a:lnTo>
                  <a:lnTo>
                    <a:pt x="564" y="298"/>
                  </a:lnTo>
                  <a:lnTo>
                    <a:pt x="567" y="298"/>
                  </a:lnTo>
                  <a:lnTo>
                    <a:pt x="570" y="298"/>
                  </a:lnTo>
                  <a:lnTo>
                    <a:pt x="570" y="301"/>
                  </a:lnTo>
                  <a:lnTo>
                    <a:pt x="570" y="304"/>
                  </a:lnTo>
                  <a:lnTo>
                    <a:pt x="570" y="307"/>
                  </a:lnTo>
                  <a:lnTo>
                    <a:pt x="573" y="307"/>
                  </a:lnTo>
                  <a:lnTo>
                    <a:pt x="573" y="310"/>
                  </a:lnTo>
                  <a:lnTo>
                    <a:pt x="573" y="313"/>
                  </a:lnTo>
                  <a:lnTo>
                    <a:pt x="573" y="316"/>
                  </a:lnTo>
                  <a:lnTo>
                    <a:pt x="573" y="319"/>
                  </a:lnTo>
                  <a:lnTo>
                    <a:pt x="576" y="322"/>
                  </a:lnTo>
                  <a:lnTo>
                    <a:pt x="579" y="322"/>
                  </a:lnTo>
                  <a:lnTo>
                    <a:pt x="582" y="322"/>
                  </a:lnTo>
                  <a:lnTo>
                    <a:pt x="585" y="322"/>
                  </a:lnTo>
                  <a:lnTo>
                    <a:pt x="591" y="322"/>
                  </a:lnTo>
                  <a:lnTo>
                    <a:pt x="594" y="322"/>
                  </a:lnTo>
                  <a:lnTo>
                    <a:pt x="594" y="325"/>
                  </a:lnTo>
                  <a:lnTo>
                    <a:pt x="597" y="327"/>
                  </a:lnTo>
                  <a:lnTo>
                    <a:pt x="600" y="327"/>
                  </a:lnTo>
                  <a:lnTo>
                    <a:pt x="602" y="327"/>
                  </a:lnTo>
                  <a:lnTo>
                    <a:pt x="608" y="327"/>
                  </a:lnTo>
                  <a:lnTo>
                    <a:pt x="611" y="327"/>
                  </a:lnTo>
                  <a:lnTo>
                    <a:pt x="614" y="327"/>
                  </a:lnTo>
                  <a:lnTo>
                    <a:pt x="620" y="327"/>
                  </a:lnTo>
                  <a:lnTo>
                    <a:pt x="620" y="330"/>
                  </a:lnTo>
                  <a:lnTo>
                    <a:pt x="623" y="330"/>
                  </a:lnTo>
                  <a:lnTo>
                    <a:pt x="626" y="333"/>
                  </a:lnTo>
                  <a:lnTo>
                    <a:pt x="626" y="336"/>
                  </a:lnTo>
                  <a:lnTo>
                    <a:pt x="629" y="336"/>
                  </a:lnTo>
                  <a:lnTo>
                    <a:pt x="629" y="339"/>
                  </a:lnTo>
                  <a:lnTo>
                    <a:pt x="632" y="339"/>
                  </a:lnTo>
                  <a:lnTo>
                    <a:pt x="635" y="339"/>
                  </a:lnTo>
                  <a:lnTo>
                    <a:pt x="638" y="339"/>
                  </a:lnTo>
                  <a:lnTo>
                    <a:pt x="638" y="336"/>
                  </a:lnTo>
                  <a:lnTo>
                    <a:pt x="641" y="336"/>
                  </a:lnTo>
                  <a:lnTo>
                    <a:pt x="641" y="333"/>
                  </a:lnTo>
                  <a:lnTo>
                    <a:pt x="641" y="330"/>
                  </a:lnTo>
                  <a:lnTo>
                    <a:pt x="641" y="327"/>
                  </a:lnTo>
                  <a:lnTo>
                    <a:pt x="638" y="327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22"/>
                  </a:lnTo>
                  <a:lnTo>
                    <a:pt x="659" y="325"/>
                  </a:lnTo>
                  <a:lnTo>
                    <a:pt x="664" y="325"/>
                  </a:lnTo>
                  <a:lnTo>
                    <a:pt x="670" y="327"/>
                  </a:lnTo>
                  <a:lnTo>
                    <a:pt x="679" y="330"/>
                  </a:lnTo>
                  <a:lnTo>
                    <a:pt x="685" y="333"/>
                  </a:lnTo>
                  <a:lnTo>
                    <a:pt x="688" y="336"/>
                  </a:lnTo>
                  <a:lnTo>
                    <a:pt x="691" y="336"/>
                  </a:lnTo>
                  <a:lnTo>
                    <a:pt x="697" y="339"/>
                  </a:lnTo>
                  <a:lnTo>
                    <a:pt x="700" y="339"/>
                  </a:lnTo>
                  <a:lnTo>
                    <a:pt x="697" y="345"/>
                  </a:lnTo>
                  <a:lnTo>
                    <a:pt x="694" y="345"/>
                  </a:lnTo>
                  <a:lnTo>
                    <a:pt x="697" y="348"/>
                  </a:lnTo>
                  <a:lnTo>
                    <a:pt x="700" y="348"/>
                  </a:lnTo>
                  <a:lnTo>
                    <a:pt x="703" y="351"/>
                  </a:lnTo>
                  <a:lnTo>
                    <a:pt x="703" y="354"/>
                  </a:lnTo>
                  <a:lnTo>
                    <a:pt x="703" y="357"/>
                  </a:lnTo>
                  <a:lnTo>
                    <a:pt x="700" y="360"/>
                  </a:lnTo>
                  <a:lnTo>
                    <a:pt x="700" y="363"/>
                  </a:lnTo>
                  <a:lnTo>
                    <a:pt x="706" y="366"/>
                  </a:lnTo>
                  <a:lnTo>
                    <a:pt x="709" y="366"/>
                  </a:lnTo>
                  <a:lnTo>
                    <a:pt x="712" y="369"/>
                  </a:lnTo>
                  <a:lnTo>
                    <a:pt x="712" y="372"/>
                  </a:lnTo>
                  <a:lnTo>
                    <a:pt x="712" y="378"/>
                  </a:lnTo>
                  <a:lnTo>
                    <a:pt x="715" y="384"/>
                  </a:lnTo>
                  <a:lnTo>
                    <a:pt x="715" y="386"/>
                  </a:lnTo>
                  <a:lnTo>
                    <a:pt x="718" y="389"/>
                  </a:lnTo>
                  <a:lnTo>
                    <a:pt x="729" y="389"/>
                  </a:lnTo>
                  <a:lnTo>
                    <a:pt x="732" y="389"/>
                  </a:lnTo>
                  <a:lnTo>
                    <a:pt x="732" y="392"/>
                  </a:lnTo>
                  <a:lnTo>
                    <a:pt x="729" y="398"/>
                  </a:lnTo>
                  <a:lnTo>
                    <a:pt x="726" y="401"/>
                  </a:lnTo>
                  <a:lnTo>
                    <a:pt x="735" y="404"/>
                  </a:lnTo>
                  <a:lnTo>
                    <a:pt x="741" y="401"/>
                  </a:lnTo>
                  <a:lnTo>
                    <a:pt x="744" y="407"/>
                  </a:lnTo>
                  <a:lnTo>
                    <a:pt x="750" y="407"/>
                  </a:lnTo>
                  <a:lnTo>
                    <a:pt x="750" y="410"/>
                  </a:lnTo>
                  <a:lnTo>
                    <a:pt x="750" y="413"/>
                  </a:lnTo>
                  <a:lnTo>
                    <a:pt x="750" y="416"/>
                  </a:lnTo>
                  <a:lnTo>
                    <a:pt x="747" y="416"/>
                  </a:lnTo>
                  <a:lnTo>
                    <a:pt x="744" y="416"/>
                  </a:lnTo>
                  <a:lnTo>
                    <a:pt x="738" y="416"/>
                  </a:lnTo>
                  <a:lnTo>
                    <a:pt x="732" y="416"/>
                  </a:lnTo>
                  <a:lnTo>
                    <a:pt x="726" y="416"/>
                  </a:lnTo>
                  <a:lnTo>
                    <a:pt x="721" y="416"/>
                  </a:lnTo>
                  <a:lnTo>
                    <a:pt x="718" y="416"/>
                  </a:lnTo>
                  <a:lnTo>
                    <a:pt x="715" y="422"/>
                  </a:lnTo>
                  <a:lnTo>
                    <a:pt x="709" y="425"/>
                  </a:lnTo>
                  <a:lnTo>
                    <a:pt x="700" y="425"/>
                  </a:lnTo>
                  <a:lnTo>
                    <a:pt x="700" y="431"/>
                  </a:lnTo>
                  <a:lnTo>
                    <a:pt x="703" y="437"/>
                  </a:lnTo>
                  <a:lnTo>
                    <a:pt x="709" y="437"/>
                  </a:lnTo>
                  <a:lnTo>
                    <a:pt x="715" y="443"/>
                  </a:lnTo>
                  <a:lnTo>
                    <a:pt x="718" y="443"/>
                  </a:lnTo>
                  <a:lnTo>
                    <a:pt x="726" y="445"/>
                  </a:lnTo>
                  <a:lnTo>
                    <a:pt x="729" y="445"/>
                  </a:lnTo>
                  <a:lnTo>
                    <a:pt x="729" y="451"/>
                  </a:lnTo>
                  <a:lnTo>
                    <a:pt x="723" y="457"/>
                  </a:lnTo>
                  <a:lnTo>
                    <a:pt x="721" y="454"/>
                  </a:lnTo>
                  <a:lnTo>
                    <a:pt x="718" y="460"/>
                  </a:lnTo>
                  <a:lnTo>
                    <a:pt x="715" y="460"/>
                  </a:lnTo>
                  <a:lnTo>
                    <a:pt x="712" y="466"/>
                  </a:lnTo>
                  <a:lnTo>
                    <a:pt x="715" y="466"/>
                  </a:lnTo>
                  <a:lnTo>
                    <a:pt x="715" y="475"/>
                  </a:lnTo>
                  <a:lnTo>
                    <a:pt x="715" y="478"/>
                  </a:lnTo>
                  <a:lnTo>
                    <a:pt x="718" y="478"/>
                  </a:lnTo>
                  <a:lnTo>
                    <a:pt x="721" y="478"/>
                  </a:lnTo>
                  <a:lnTo>
                    <a:pt x="721" y="481"/>
                  </a:lnTo>
                  <a:lnTo>
                    <a:pt x="723" y="481"/>
                  </a:lnTo>
                  <a:lnTo>
                    <a:pt x="726" y="481"/>
                  </a:lnTo>
                  <a:lnTo>
                    <a:pt x="726" y="484"/>
                  </a:lnTo>
                  <a:lnTo>
                    <a:pt x="729" y="487"/>
                  </a:lnTo>
                  <a:lnTo>
                    <a:pt x="732" y="487"/>
                  </a:lnTo>
                  <a:lnTo>
                    <a:pt x="735" y="490"/>
                  </a:lnTo>
                  <a:lnTo>
                    <a:pt x="735" y="493"/>
                  </a:lnTo>
                  <a:lnTo>
                    <a:pt x="738" y="496"/>
                  </a:lnTo>
                  <a:lnTo>
                    <a:pt x="744" y="496"/>
                  </a:lnTo>
                  <a:lnTo>
                    <a:pt x="747" y="496"/>
                  </a:lnTo>
                  <a:lnTo>
                    <a:pt x="750" y="496"/>
                  </a:lnTo>
                  <a:lnTo>
                    <a:pt x="753" y="496"/>
                  </a:lnTo>
                  <a:lnTo>
                    <a:pt x="756" y="496"/>
                  </a:lnTo>
                  <a:lnTo>
                    <a:pt x="756" y="499"/>
                  </a:lnTo>
                  <a:lnTo>
                    <a:pt x="759" y="496"/>
                  </a:lnTo>
                  <a:lnTo>
                    <a:pt x="759" y="499"/>
                  </a:lnTo>
                  <a:lnTo>
                    <a:pt x="762" y="499"/>
                  </a:lnTo>
                  <a:lnTo>
                    <a:pt x="762" y="502"/>
                  </a:lnTo>
                  <a:lnTo>
                    <a:pt x="765" y="499"/>
                  </a:lnTo>
                  <a:lnTo>
                    <a:pt x="765" y="502"/>
                  </a:lnTo>
                  <a:lnTo>
                    <a:pt x="768" y="505"/>
                  </a:lnTo>
                  <a:lnTo>
                    <a:pt x="771" y="507"/>
                  </a:lnTo>
                  <a:lnTo>
                    <a:pt x="774" y="507"/>
                  </a:lnTo>
                  <a:lnTo>
                    <a:pt x="774" y="510"/>
                  </a:lnTo>
                  <a:lnTo>
                    <a:pt x="777" y="510"/>
                  </a:lnTo>
                  <a:lnTo>
                    <a:pt x="774" y="513"/>
                  </a:lnTo>
                  <a:lnTo>
                    <a:pt x="774" y="516"/>
                  </a:lnTo>
                  <a:lnTo>
                    <a:pt x="774" y="519"/>
                  </a:lnTo>
                  <a:lnTo>
                    <a:pt x="771" y="519"/>
                  </a:lnTo>
                  <a:lnTo>
                    <a:pt x="768" y="519"/>
                  </a:lnTo>
                  <a:lnTo>
                    <a:pt x="768" y="522"/>
                  </a:lnTo>
                  <a:lnTo>
                    <a:pt x="765" y="519"/>
                  </a:lnTo>
                  <a:lnTo>
                    <a:pt x="762" y="519"/>
                  </a:lnTo>
                  <a:lnTo>
                    <a:pt x="759" y="519"/>
                  </a:lnTo>
                  <a:lnTo>
                    <a:pt x="756" y="519"/>
                  </a:lnTo>
                  <a:lnTo>
                    <a:pt x="753" y="519"/>
                  </a:lnTo>
                  <a:lnTo>
                    <a:pt x="750" y="516"/>
                  </a:lnTo>
                  <a:lnTo>
                    <a:pt x="750" y="513"/>
                  </a:lnTo>
                  <a:lnTo>
                    <a:pt x="747" y="513"/>
                  </a:lnTo>
                  <a:lnTo>
                    <a:pt x="744" y="516"/>
                  </a:lnTo>
                  <a:lnTo>
                    <a:pt x="741" y="516"/>
                  </a:lnTo>
                  <a:lnTo>
                    <a:pt x="741" y="519"/>
                  </a:lnTo>
                  <a:lnTo>
                    <a:pt x="744" y="522"/>
                  </a:lnTo>
                  <a:lnTo>
                    <a:pt x="741" y="522"/>
                  </a:lnTo>
                  <a:lnTo>
                    <a:pt x="741" y="525"/>
                  </a:lnTo>
                  <a:lnTo>
                    <a:pt x="738" y="525"/>
                  </a:lnTo>
                  <a:lnTo>
                    <a:pt x="738" y="522"/>
                  </a:lnTo>
                  <a:lnTo>
                    <a:pt x="735" y="519"/>
                  </a:lnTo>
                  <a:lnTo>
                    <a:pt x="732" y="519"/>
                  </a:lnTo>
                  <a:lnTo>
                    <a:pt x="729" y="519"/>
                  </a:lnTo>
                  <a:lnTo>
                    <a:pt x="726" y="519"/>
                  </a:lnTo>
                  <a:lnTo>
                    <a:pt x="723" y="519"/>
                  </a:lnTo>
                  <a:lnTo>
                    <a:pt x="723" y="522"/>
                  </a:lnTo>
                  <a:lnTo>
                    <a:pt x="721" y="522"/>
                  </a:lnTo>
                  <a:lnTo>
                    <a:pt x="718" y="522"/>
                  </a:lnTo>
                  <a:lnTo>
                    <a:pt x="718" y="525"/>
                  </a:lnTo>
                  <a:lnTo>
                    <a:pt x="715" y="525"/>
                  </a:lnTo>
                  <a:lnTo>
                    <a:pt x="712" y="528"/>
                  </a:lnTo>
                  <a:lnTo>
                    <a:pt x="712" y="531"/>
                  </a:lnTo>
                  <a:lnTo>
                    <a:pt x="709" y="534"/>
                  </a:lnTo>
                  <a:lnTo>
                    <a:pt x="706" y="537"/>
                  </a:lnTo>
                  <a:lnTo>
                    <a:pt x="703" y="537"/>
                  </a:lnTo>
                  <a:lnTo>
                    <a:pt x="703" y="540"/>
                  </a:lnTo>
                  <a:lnTo>
                    <a:pt x="700" y="543"/>
                  </a:lnTo>
                  <a:lnTo>
                    <a:pt x="697" y="543"/>
                  </a:lnTo>
                  <a:lnTo>
                    <a:pt x="694" y="543"/>
                  </a:lnTo>
                  <a:lnTo>
                    <a:pt x="691" y="543"/>
                  </a:lnTo>
                  <a:lnTo>
                    <a:pt x="688" y="546"/>
                  </a:lnTo>
                  <a:lnTo>
                    <a:pt x="682" y="549"/>
                  </a:lnTo>
                  <a:lnTo>
                    <a:pt x="676" y="552"/>
                  </a:lnTo>
                  <a:lnTo>
                    <a:pt x="667" y="564"/>
                  </a:lnTo>
                  <a:lnTo>
                    <a:pt x="659" y="569"/>
                  </a:lnTo>
                  <a:lnTo>
                    <a:pt x="650" y="575"/>
                  </a:lnTo>
                  <a:lnTo>
                    <a:pt x="647" y="578"/>
                  </a:lnTo>
                  <a:lnTo>
                    <a:pt x="647" y="581"/>
                  </a:lnTo>
                  <a:lnTo>
                    <a:pt x="644" y="590"/>
                  </a:lnTo>
                  <a:lnTo>
                    <a:pt x="644" y="596"/>
                  </a:lnTo>
                  <a:lnTo>
                    <a:pt x="644" y="602"/>
                  </a:lnTo>
                  <a:lnTo>
                    <a:pt x="644" y="611"/>
                  </a:lnTo>
                  <a:lnTo>
                    <a:pt x="647" y="617"/>
                  </a:lnTo>
                  <a:lnTo>
                    <a:pt x="650" y="623"/>
                  </a:lnTo>
                  <a:lnTo>
                    <a:pt x="653" y="626"/>
                  </a:lnTo>
                  <a:lnTo>
                    <a:pt x="659" y="628"/>
                  </a:lnTo>
                  <a:lnTo>
                    <a:pt x="661" y="631"/>
                  </a:lnTo>
                  <a:lnTo>
                    <a:pt x="664" y="634"/>
                  </a:lnTo>
                  <a:lnTo>
                    <a:pt x="664" y="640"/>
                  </a:lnTo>
                  <a:lnTo>
                    <a:pt x="667" y="646"/>
                  </a:lnTo>
                  <a:lnTo>
                    <a:pt x="664" y="655"/>
                  </a:lnTo>
                  <a:lnTo>
                    <a:pt x="661" y="655"/>
                  </a:lnTo>
                  <a:lnTo>
                    <a:pt x="656" y="658"/>
                  </a:lnTo>
                  <a:lnTo>
                    <a:pt x="656" y="661"/>
                  </a:lnTo>
                  <a:lnTo>
                    <a:pt x="656" y="664"/>
                  </a:lnTo>
                  <a:lnTo>
                    <a:pt x="656" y="673"/>
                  </a:lnTo>
                  <a:lnTo>
                    <a:pt x="653" y="682"/>
                  </a:lnTo>
                  <a:lnTo>
                    <a:pt x="650" y="690"/>
                  </a:lnTo>
                  <a:lnTo>
                    <a:pt x="650" y="696"/>
                  </a:lnTo>
                  <a:lnTo>
                    <a:pt x="647" y="699"/>
                  </a:lnTo>
                  <a:lnTo>
                    <a:pt x="644" y="708"/>
                  </a:lnTo>
                  <a:lnTo>
                    <a:pt x="635" y="720"/>
                  </a:lnTo>
                  <a:lnTo>
                    <a:pt x="623" y="729"/>
                  </a:lnTo>
                  <a:lnTo>
                    <a:pt x="611" y="735"/>
                  </a:lnTo>
                  <a:lnTo>
                    <a:pt x="602" y="735"/>
                  </a:lnTo>
                  <a:lnTo>
                    <a:pt x="597" y="732"/>
                  </a:lnTo>
                  <a:lnTo>
                    <a:pt x="591" y="726"/>
                  </a:lnTo>
                  <a:lnTo>
                    <a:pt x="588" y="726"/>
                  </a:lnTo>
                  <a:lnTo>
                    <a:pt x="588" y="717"/>
                  </a:lnTo>
                  <a:lnTo>
                    <a:pt x="585" y="714"/>
                  </a:lnTo>
                  <a:lnTo>
                    <a:pt x="582" y="711"/>
                  </a:lnTo>
                  <a:lnTo>
                    <a:pt x="576" y="708"/>
                  </a:lnTo>
                  <a:lnTo>
                    <a:pt x="579" y="705"/>
                  </a:lnTo>
                  <a:lnTo>
                    <a:pt x="582" y="696"/>
                  </a:lnTo>
                  <a:lnTo>
                    <a:pt x="585" y="687"/>
                  </a:lnTo>
                  <a:lnTo>
                    <a:pt x="585" y="679"/>
                  </a:lnTo>
                  <a:lnTo>
                    <a:pt x="579" y="676"/>
                  </a:lnTo>
                  <a:lnTo>
                    <a:pt x="579" y="670"/>
                  </a:lnTo>
                  <a:lnTo>
                    <a:pt x="579" y="661"/>
                  </a:lnTo>
                  <a:lnTo>
                    <a:pt x="585" y="658"/>
                  </a:lnTo>
                  <a:lnTo>
                    <a:pt x="588" y="655"/>
                  </a:lnTo>
                  <a:lnTo>
                    <a:pt x="585" y="652"/>
                  </a:lnTo>
                  <a:lnTo>
                    <a:pt x="585" y="649"/>
                  </a:lnTo>
                  <a:lnTo>
                    <a:pt x="579" y="643"/>
                  </a:lnTo>
                  <a:lnTo>
                    <a:pt x="570" y="640"/>
                  </a:lnTo>
                  <a:lnTo>
                    <a:pt x="561" y="643"/>
                  </a:lnTo>
                  <a:lnTo>
                    <a:pt x="558" y="643"/>
                  </a:lnTo>
                  <a:lnTo>
                    <a:pt x="546" y="643"/>
                  </a:lnTo>
                  <a:lnTo>
                    <a:pt x="546" y="652"/>
                  </a:lnTo>
                  <a:lnTo>
                    <a:pt x="543" y="652"/>
                  </a:lnTo>
                  <a:lnTo>
                    <a:pt x="535" y="649"/>
                  </a:lnTo>
                  <a:lnTo>
                    <a:pt x="535" y="646"/>
                  </a:lnTo>
                  <a:lnTo>
                    <a:pt x="538" y="643"/>
                  </a:lnTo>
                  <a:lnTo>
                    <a:pt x="535" y="643"/>
                  </a:lnTo>
                  <a:lnTo>
                    <a:pt x="529" y="643"/>
                  </a:lnTo>
                  <a:lnTo>
                    <a:pt x="529" y="640"/>
                  </a:lnTo>
                  <a:lnTo>
                    <a:pt x="529" y="634"/>
                  </a:lnTo>
                  <a:lnTo>
                    <a:pt x="526" y="631"/>
                  </a:lnTo>
                  <a:lnTo>
                    <a:pt x="520" y="631"/>
                  </a:lnTo>
                  <a:lnTo>
                    <a:pt x="517" y="631"/>
                  </a:lnTo>
                  <a:lnTo>
                    <a:pt x="508" y="626"/>
                  </a:lnTo>
                  <a:lnTo>
                    <a:pt x="505" y="626"/>
                  </a:lnTo>
                  <a:lnTo>
                    <a:pt x="496" y="623"/>
                  </a:lnTo>
                  <a:lnTo>
                    <a:pt x="493" y="617"/>
                  </a:lnTo>
                  <a:lnTo>
                    <a:pt x="493" y="611"/>
                  </a:lnTo>
                  <a:lnTo>
                    <a:pt x="487" y="608"/>
                  </a:lnTo>
                  <a:lnTo>
                    <a:pt x="484" y="605"/>
                  </a:lnTo>
                  <a:lnTo>
                    <a:pt x="476" y="605"/>
                  </a:lnTo>
                  <a:lnTo>
                    <a:pt x="473" y="602"/>
                  </a:lnTo>
                  <a:lnTo>
                    <a:pt x="470" y="602"/>
                  </a:lnTo>
                  <a:lnTo>
                    <a:pt x="464" y="599"/>
                  </a:lnTo>
                  <a:lnTo>
                    <a:pt x="461" y="593"/>
                  </a:lnTo>
                  <a:lnTo>
                    <a:pt x="461" y="590"/>
                  </a:lnTo>
                  <a:lnTo>
                    <a:pt x="458" y="587"/>
                  </a:lnTo>
                  <a:lnTo>
                    <a:pt x="452" y="587"/>
                  </a:lnTo>
                  <a:lnTo>
                    <a:pt x="449" y="587"/>
                  </a:lnTo>
                  <a:lnTo>
                    <a:pt x="446" y="590"/>
                  </a:lnTo>
                  <a:lnTo>
                    <a:pt x="446" y="596"/>
                  </a:lnTo>
                  <a:lnTo>
                    <a:pt x="449" y="596"/>
                  </a:lnTo>
                  <a:lnTo>
                    <a:pt x="446" y="599"/>
                  </a:lnTo>
                  <a:lnTo>
                    <a:pt x="440" y="599"/>
                  </a:lnTo>
                  <a:lnTo>
                    <a:pt x="437" y="593"/>
                  </a:lnTo>
                  <a:lnTo>
                    <a:pt x="434" y="590"/>
                  </a:lnTo>
                  <a:lnTo>
                    <a:pt x="428" y="590"/>
                  </a:lnTo>
                  <a:lnTo>
                    <a:pt x="425" y="593"/>
                  </a:lnTo>
                  <a:lnTo>
                    <a:pt x="422" y="596"/>
                  </a:lnTo>
                  <a:lnTo>
                    <a:pt x="419" y="602"/>
                  </a:lnTo>
                  <a:lnTo>
                    <a:pt x="419" y="608"/>
                  </a:lnTo>
                  <a:lnTo>
                    <a:pt x="417" y="617"/>
                  </a:lnTo>
                  <a:lnTo>
                    <a:pt x="414" y="617"/>
                  </a:lnTo>
                  <a:lnTo>
                    <a:pt x="408" y="617"/>
                  </a:lnTo>
                  <a:lnTo>
                    <a:pt x="402" y="614"/>
                  </a:lnTo>
                  <a:lnTo>
                    <a:pt x="396" y="614"/>
                  </a:lnTo>
                  <a:lnTo>
                    <a:pt x="390" y="614"/>
                  </a:lnTo>
                  <a:lnTo>
                    <a:pt x="387" y="617"/>
                  </a:lnTo>
                  <a:lnTo>
                    <a:pt x="378" y="617"/>
                  </a:lnTo>
                  <a:lnTo>
                    <a:pt x="375" y="617"/>
                  </a:lnTo>
                  <a:lnTo>
                    <a:pt x="375" y="614"/>
                  </a:lnTo>
                  <a:lnTo>
                    <a:pt x="381" y="608"/>
                  </a:lnTo>
                  <a:lnTo>
                    <a:pt x="381" y="602"/>
                  </a:lnTo>
                  <a:lnTo>
                    <a:pt x="384" y="596"/>
                  </a:lnTo>
                  <a:lnTo>
                    <a:pt x="387" y="590"/>
                  </a:lnTo>
                  <a:lnTo>
                    <a:pt x="384" y="587"/>
                  </a:lnTo>
                  <a:lnTo>
                    <a:pt x="381" y="587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2" y="593"/>
                  </a:lnTo>
                  <a:lnTo>
                    <a:pt x="366" y="596"/>
                  </a:lnTo>
                  <a:lnTo>
                    <a:pt x="369" y="599"/>
                  </a:lnTo>
                  <a:lnTo>
                    <a:pt x="369" y="602"/>
                  </a:lnTo>
                  <a:lnTo>
                    <a:pt x="363" y="602"/>
                  </a:lnTo>
                  <a:lnTo>
                    <a:pt x="360" y="599"/>
                  </a:lnTo>
                  <a:lnTo>
                    <a:pt x="355" y="596"/>
                  </a:lnTo>
                  <a:lnTo>
                    <a:pt x="352" y="599"/>
                  </a:lnTo>
                  <a:lnTo>
                    <a:pt x="349" y="599"/>
                  </a:lnTo>
                  <a:lnTo>
                    <a:pt x="343" y="596"/>
                  </a:lnTo>
                  <a:lnTo>
                    <a:pt x="343" y="602"/>
                  </a:lnTo>
                  <a:lnTo>
                    <a:pt x="346" y="605"/>
                  </a:lnTo>
                  <a:lnTo>
                    <a:pt x="343" y="608"/>
                  </a:lnTo>
                  <a:lnTo>
                    <a:pt x="337" y="608"/>
                  </a:lnTo>
                  <a:lnTo>
                    <a:pt x="337" y="605"/>
                  </a:lnTo>
                  <a:lnTo>
                    <a:pt x="337" y="602"/>
                  </a:lnTo>
                  <a:lnTo>
                    <a:pt x="337" y="599"/>
                  </a:lnTo>
                  <a:lnTo>
                    <a:pt x="334" y="599"/>
                  </a:lnTo>
                  <a:lnTo>
                    <a:pt x="331" y="602"/>
                  </a:lnTo>
                  <a:lnTo>
                    <a:pt x="328" y="605"/>
                  </a:lnTo>
                  <a:lnTo>
                    <a:pt x="322" y="605"/>
                  </a:lnTo>
                  <a:lnTo>
                    <a:pt x="319" y="605"/>
                  </a:lnTo>
                  <a:lnTo>
                    <a:pt x="319" y="602"/>
                  </a:lnTo>
                  <a:lnTo>
                    <a:pt x="322" y="599"/>
                  </a:lnTo>
                  <a:lnTo>
                    <a:pt x="328" y="599"/>
                  </a:lnTo>
                  <a:lnTo>
                    <a:pt x="331" y="593"/>
                  </a:lnTo>
                  <a:lnTo>
                    <a:pt x="328" y="587"/>
                  </a:lnTo>
                  <a:lnTo>
                    <a:pt x="334" y="587"/>
                  </a:lnTo>
                  <a:lnTo>
                    <a:pt x="331" y="581"/>
                  </a:lnTo>
                  <a:lnTo>
                    <a:pt x="325" y="575"/>
                  </a:lnTo>
                  <a:lnTo>
                    <a:pt x="322" y="569"/>
                  </a:lnTo>
                  <a:lnTo>
                    <a:pt x="322" y="566"/>
                  </a:lnTo>
                  <a:lnTo>
                    <a:pt x="322" y="561"/>
                  </a:lnTo>
                  <a:lnTo>
                    <a:pt x="313" y="561"/>
                  </a:lnTo>
                  <a:lnTo>
                    <a:pt x="307" y="564"/>
                  </a:lnTo>
                  <a:lnTo>
                    <a:pt x="298" y="566"/>
                  </a:lnTo>
                  <a:lnTo>
                    <a:pt x="296" y="566"/>
                  </a:lnTo>
                  <a:lnTo>
                    <a:pt x="296" y="572"/>
                  </a:lnTo>
                  <a:lnTo>
                    <a:pt x="290" y="575"/>
                  </a:lnTo>
                  <a:lnTo>
                    <a:pt x="278" y="581"/>
                  </a:lnTo>
                  <a:lnTo>
                    <a:pt x="275" y="581"/>
                  </a:lnTo>
                  <a:lnTo>
                    <a:pt x="272" y="587"/>
                  </a:lnTo>
                  <a:lnTo>
                    <a:pt x="272" y="590"/>
                  </a:lnTo>
                  <a:lnTo>
                    <a:pt x="272" y="596"/>
                  </a:lnTo>
                  <a:lnTo>
                    <a:pt x="266" y="596"/>
                  </a:lnTo>
                  <a:lnTo>
                    <a:pt x="260" y="590"/>
                  </a:lnTo>
                  <a:lnTo>
                    <a:pt x="251" y="593"/>
                  </a:lnTo>
                  <a:lnTo>
                    <a:pt x="245" y="590"/>
                  </a:lnTo>
                  <a:lnTo>
                    <a:pt x="239" y="593"/>
                  </a:lnTo>
                  <a:lnTo>
                    <a:pt x="237" y="596"/>
                  </a:lnTo>
                  <a:lnTo>
                    <a:pt x="231" y="596"/>
                  </a:lnTo>
                  <a:lnTo>
                    <a:pt x="228" y="593"/>
                  </a:lnTo>
                  <a:lnTo>
                    <a:pt x="225" y="587"/>
                  </a:lnTo>
                  <a:lnTo>
                    <a:pt x="231" y="584"/>
                  </a:lnTo>
                  <a:lnTo>
                    <a:pt x="237" y="578"/>
                  </a:lnTo>
                  <a:lnTo>
                    <a:pt x="234" y="575"/>
                  </a:lnTo>
                  <a:lnTo>
                    <a:pt x="225" y="578"/>
                  </a:lnTo>
                  <a:lnTo>
                    <a:pt x="222" y="575"/>
                  </a:lnTo>
                  <a:lnTo>
                    <a:pt x="213" y="572"/>
                  </a:lnTo>
                  <a:lnTo>
                    <a:pt x="210" y="572"/>
                  </a:lnTo>
                  <a:lnTo>
                    <a:pt x="210" y="578"/>
                  </a:lnTo>
                  <a:lnTo>
                    <a:pt x="213" y="584"/>
                  </a:lnTo>
                  <a:lnTo>
                    <a:pt x="216" y="587"/>
                  </a:lnTo>
                  <a:lnTo>
                    <a:pt x="213" y="593"/>
                  </a:lnTo>
                  <a:lnTo>
                    <a:pt x="207" y="593"/>
                  </a:lnTo>
                  <a:lnTo>
                    <a:pt x="204" y="593"/>
                  </a:lnTo>
                  <a:lnTo>
                    <a:pt x="198" y="593"/>
                  </a:lnTo>
                  <a:lnTo>
                    <a:pt x="195" y="590"/>
                  </a:lnTo>
                  <a:lnTo>
                    <a:pt x="192" y="590"/>
                  </a:lnTo>
                  <a:lnTo>
                    <a:pt x="186" y="587"/>
                  </a:lnTo>
                  <a:lnTo>
                    <a:pt x="189" y="584"/>
                  </a:lnTo>
                  <a:lnTo>
                    <a:pt x="189" y="581"/>
                  </a:lnTo>
                  <a:lnTo>
                    <a:pt x="183" y="578"/>
                  </a:lnTo>
                  <a:lnTo>
                    <a:pt x="180" y="584"/>
                  </a:lnTo>
                  <a:lnTo>
                    <a:pt x="175" y="584"/>
                  </a:lnTo>
                  <a:lnTo>
                    <a:pt x="169" y="587"/>
                  </a:lnTo>
                  <a:lnTo>
                    <a:pt x="169" y="584"/>
                  </a:lnTo>
                  <a:lnTo>
                    <a:pt x="172" y="578"/>
                  </a:lnTo>
                  <a:lnTo>
                    <a:pt x="177" y="575"/>
                  </a:lnTo>
                  <a:lnTo>
                    <a:pt x="177" y="572"/>
                  </a:lnTo>
                  <a:lnTo>
                    <a:pt x="175" y="569"/>
                  </a:lnTo>
                  <a:lnTo>
                    <a:pt x="172" y="569"/>
                  </a:lnTo>
                  <a:lnTo>
                    <a:pt x="166" y="578"/>
                  </a:lnTo>
                  <a:lnTo>
                    <a:pt x="163" y="578"/>
                  </a:lnTo>
                  <a:lnTo>
                    <a:pt x="163" y="575"/>
                  </a:lnTo>
                  <a:lnTo>
                    <a:pt x="166" y="569"/>
                  </a:lnTo>
                  <a:lnTo>
                    <a:pt x="169" y="564"/>
                  </a:lnTo>
                  <a:lnTo>
                    <a:pt x="175" y="564"/>
                  </a:lnTo>
                  <a:lnTo>
                    <a:pt x="177" y="566"/>
                  </a:lnTo>
                  <a:lnTo>
                    <a:pt x="180" y="564"/>
                  </a:lnTo>
                  <a:lnTo>
                    <a:pt x="177" y="558"/>
                  </a:lnTo>
                  <a:lnTo>
                    <a:pt x="175" y="555"/>
                  </a:lnTo>
                  <a:lnTo>
                    <a:pt x="177" y="552"/>
                  </a:lnTo>
                  <a:lnTo>
                    <a:pt x="175" y="549"/>
                  </a:lnTo>
                  <a:lnTo>
                    <a:pt x="175" y="543"/>
                  </a:lnTo>
                  <a:lnTo>
                    <a:pt x="172" y="543"/>
                  </a:lnTo>
                  <a:lnTo>
                    <a:pt x="169" y="549"/>
                  </a:lnTo>
                  <a:lnTo>
                    <a:pt x="166" y="555"/>
                  </a:lnTo>
                  <a:lnTo>
                    <a:pt x="163" y="555"/>
                  </a:lnTo>
                  <a:lnTo>
                    <a:pt x="157" y="555"/>
                  </a:lnTo>
                  <a:lnTo>
                    <a:pt x="157" y="558"/>
                  </a:lnTo>
                  <a:lnTo>
                    <a:pt x="157" y="564"/>
                  </a:lnTo>
                  <a:lnTo>
                    <a:pt x="157" y="566"/>
                  </a:lnTo>
                  <a:lnTo>
                    <a:pt x="151" y="566"/>
                  </a:lnTo>
                  <a:lnTo>
                    <a:pt x="148" y="564"/>
                  </a:lnTo>
                  <a:lnTo>
                    <a:pt x="142" y="561"/>
                  </a:lnTo>
                  <a:lnTo>
                    <a:pt x="139" y="561"/>
                  </a:lnTo>
                  <a:lnTo>
                    <a:pt x="133" y="566"/>
                  </a:lnTo>
                  <a:lnTo>
                    <a:pt x="133" y="572"/>
                  </a:lnTo>
                  <a:lnTo>
                    <a:pt x="136" y="578"/>
                  </a:lnTo>
                  <a:lnTo>
                    <a:pt x="139" y="584"/>
                  </a:lnTo>
                  <a:lnTo>
                    <a:pt x="142" y="590"/>
                  </a:lnTo>
                  <a:lnTo>
                    <a:pt x="145" y="596"/>
                  </a:lnTo>
                  <a:lnTo>
                    <a:pt x="148" y="602"/>
                  </a:lnTo>
                  <a:lnTo>
                    <a:pt x="151" y="611"/>
                  </a:lnTo>
                  <a:lnTo>
                    <a:pt x="154" y="620"/>
                  </a:lnTo>
                  <a:lnTo>
                    <a:pt x="160" y="628"/>
                  </a:lnTo>
                  <a:lnTo>
                    <a:pt x="160" y="637"/>
                  </a:lnTo>
                  <a:lnTo>
                    <a:pt x="157" y="643"/>
                  </a:lnTo>
                  <a:lnTo>
                    <a:pt x="154" y="649"/>
                  </a:lnTo>
                  <a:lnTo>
                    <a:pt x="151" y="652"/>
                  </a:lnTo>
                  <a:lnTo>
                    <a:pt x="157" y="655"/>
                  </a:lnTo>
                  <a:lnTo>
                    <a:pt x="163" y="649"/>
                  </a:lnTo>
                  <a:lnTo>
                    <a:pt x="166" y="646"/>
                  </a:lnTo>
                  <a:lnTo>
                    <a:pt x="172" y="649"/>
                  </a:lnTo>
                  <a:lnTo>
                    <a:pt x="172" y="652"/>
                  </a:lnTo>
                  <a:lnTo>
                    <a:pt x="175" y="655"/>
                  </a:lnTo>
                  <a:lnTo>
                    <a:pt x="177" y="658"/>
                  </a:lnTo>
                  <a:lnTo>
                    <a:pt x="175" y="661"/>
                  </a:lnTo>
                  <a:lnTo>
                    <a:pt x="172" y="667"/>
                  </a:lnTo>
                  <a:lnTo>
                    <a:pt x="175" y="670"/>
                  </a:lnTo>
                  <a:lnTo>
                    <a:pt x="177" y="673"/>
                  </a:lnTo>
                  <a:lnTo>
                    <a:pt x="177" y="676"/>
                  </a:lnTo>
                  <a:lnTo>
                    <a:pt x="175" y="682"/>
                  </a:lnTo>
                  <a:lnTo>
                    <a:pt x="172" y="687"/>
                  </a:lnTo>
                  <a:lnTo>
                    <a:pt x="169" y="690"/>
                  </a:lnTo>
                  <a:lnTo>
                    <a:pt x="166" y="693"/>
                  </a:lnTo>
                  <a:lnTo>
                    <a:pt x="160" y="696"/>
                  </a:lnTo>
                  <a:lnTo>
                    <a:pt x="157" y="696"/>
                  </a:lnTo>
                  <a:lnTo>
                    <a:pt x="154" y="693"/>
                  </a:lnTo>
                  <a:lnTo>
                    <a:pt x="148" y="693"/>
                  </a:lnTo>
                  <a:lnTo>
                    <a:pt x="142" y="690"/>
                  </a:lnTo>
                  <a:lnTo>
                    <a:pt x="139" y="685"/>
                  </a:lnTo>
                  <a:lnTo>
                    <a:pt x="136" y="679"/>
                  </a:lnTo>
                  <a:lnTo>
                    <a:pt x="133" y="679"/>
                  </a:lnTo>
                  <a:lnTo>
                    <a:pt x="124" y="682"/>
                  </a:lnTo>
                  <a:lnTo>
                    <a:pt x="116" y="685"/>
                  </a:lnTo>
                  <a:lnTo>
                    <a:pt x="110" y="682"/>
                  </a:lnTo>
                  <a:lnTo>
                    <a:pt x="113" y="676"/>
                  </a:lnTo>
                  <a:lnTo>
                    <a:pt x="113" y="673"/>
                  </a:lnTo>
                  <a:lnTo>
                    <a:pt x="101" y="667"/>
                  </a:lnTo>
                  <a:lnTo>
                    <a:pt x="104" y="664"/>
                  </a:lnTo>
                  <a:lnTo>
                    <a:pt x="101" y="661"/>
                  </a:lnTo>
                  <a:lnTo>
                    <a:pt x="101" y="658"/>
                  </a:lnTo>
                  <a:lnTo>
                    <a:pt x="98" y="658"/>
                  </a:lnTo>
                  <a:lnTo>
                    <a:pt x="98" y="655"/>
                  </a:lnTo>
                  <a:lnTo>
                    <a:pt x="101" y="655"/>
                  </a:lnTo>
                  <a:lnTo>
                    <a:pt x="104" y="655"/>
                  </a:lnTo>
                  <a:lnTo>
                    <a:pt x="104" y="652"/>
                  </a:lnTo>
                  <a:lnTo>
                    <a:pt x="104" y="646"/>
                  </a:lnTo>
                  <a:lnTo>
                    <a:pt x="104" y="643"/>
                  </a:lnTo>
                  <a:lnTo>
                    <a:pt x="104" y="640"/>
                  </a:lnTo>
                  <a:lnTo>
                    <a:pt x="104" y="637"/>
                  </a:lnTo>
                  <a:lnTo>
                    <a:pt x="101" y="637"/>
                  </a:lnTo>
                  <a:lnTo>
                    <a:pt x="101" y="634"/>
                  </a:lnTo>
                  <a:lnTo>
                    <a:pt x="98" y="631"/>
                  </a:lnTo>
                  <a:lnTo>
                    <a:pt x="101" y="631"/>
                  </a:lnTo>
                  <a:lnTo>
                    <a:pt x="98" y="626"/>
                  </a:lnTo>
                  <a:lnTo>
                    <a:pt x="98" y="623"/>
                  </a:lnTo>
                  <a:lnTo>
                    <a:pt x="95" y="623"/>
                  </a:lnTo>
                  <a:lnTo>
                    <a:pt x="95" y="620"/>
                  </a:lnTo>
                  <a:lnTo>
                    <a:pt x="95" y="617"/>
                  </a:lnTo>
                  <a:lnTo>
                    <a:pt x="98" y="614"/>
                  </a:lnTo>
                  <a:lnTo>
                    <a:pt x="101" y="614"/>
                  </a:lnTo>
                  <a:lnTo>
                    <a:pt x="101" y="611"/>
                  </a:lnTo>
                  <a:lnTo>
                    <a:pt x="104" y="611"/>
                  </a:lnTo>
                  <a:lnTo>
                    <a:pt x="107" y="608"/>
                  </a:lnTo>
                  <a:lnTo>
                    <a:pt x="110" y="608"/>
                  </a:lnTo>
                  <a:lnTo>
                    <a:pt x="110" y="605"/>
                  </a:lnTo>
                  <a:lnTo>
                    <a:pt x="113" y="602"/>
                  </a:lnTo>
                  <a:lnTo>
                    <a:pt x="113" y="599"/>
                  </a:lnTo>
                  <a:lnTo>
                    <a:pt x="113" y="593"/>
                  </a:lnTo>
                  <a:lnTo>
                    <a:pt x="116" y="593"/>
                  </a:lnTo>
                  <a:lnTo>
                    <a:pt x="118" y="590"/>
                  </a:lnTo>
                  <a:lnTo>
                    <a:pt x="121" y="590"/>
                  </a:lnTo>
                  <a:lnTo>
                    <a:pt x="124" y="590"/>
                  </a:lnTo>
                  <a:lnTo>
                    <a:pt x="121" y="587"/>
                  </a:lnTo>
                  <a:lnTo>
                    <a:pt x="121" y="584"/>
                  </a:lnTo>
                  <a:lnTo>
                    <a:pt x="121" y="581"/>
                  </a:lnTo>
                  <a:lnTo>
                    <a:pt x="118" y="578"/>
                  </a:lnTo>
                  <a:lnTo>
                    <a:pt x="116" y="572"/>
                  </a:lnTo>
                  <a:lnTo>
                    <a:pt x="113" y="572"/>
                  </a:lnTo>
                  <a:lnTo>
                    <a:pt x="110" y="564"/>
                  </a:lnTo>
                  <a:lnTo>
                    <a:pt x="113" y="561"/>
                  </a:lnTo>
                  <a:lnTo>
                    <a:pt x="118" y="558"/>
                  </a:lnTo>
                  <a:lnTo>
                    <a:pt x="118" y="555"/>
                  </a:lnTo>
                  <a:lnTo>
                    <a:pt x="121" y="549"/>
                  </a:lnTo>
                  <a:lnTo>
                    <a:pt x="124" y="546"/>
                  </a:lnTo>
                  <a:lnTo>
                    <a:pt x="127" y="543"/>
                  </a:lnTo>
                  <a:lnTo>
                    <a:pt x="130" y="540"/>
                  </a:lnTo>
                  <a:lnTo>
                    <a:pt x="136" y="540"/>
                  </a:lnTo>
                  <a:lnTo>
                    <a:pt x="139" y="540"/>
                  </a:lnTo>
                  <a:lnTo>
                    <a:pt x="145" y="537"/>
                  </a:lnTo>
                  <a:lnTo>
                    <a:pt x="151" y="540"/>
                  </a:lnTo>
                  <a:lnTo>
                    <a:pt x="154" y="540"/>
                  </a:lnTo>
                  <a:lnTo>
                    <a:pt x="157" y="537"/>
                  </a:lnTo>
                  <a:lnTo>
                    <a:pt x="160" y="534"/>
                  </a:lnTo>
                  <a:lnTo>
                    <a:pt x="163" y="531"/>
                  </a:lnTo>
                  <a:lnTo>
                    <a:pt x="160" y="525"/>
                  </a:lnTo>
                  <a:lnTo>
                    <a:pt x="160" y="519"/>
                  </a:lnTo>
                  <a:lnTo>
                    <a:pt x="163" y="516"/>
                  </a:lnTo>
                  <a:lnTo>
                    <a:pt x="166" y="513"/>
                  </a:lnTo>
                  <a:lnTo>
                    <a:pt x="169" y="513"/>
                  </a:lnTo>
                  <a:lnTo>
                    <a:pt x="169" y="510"/>
                  </a:lnTo>
                  <a:lnTo>
                    <a:pt x="172" y="505"/>
                  </a:lnTo>
                  <a:lnTo>
                    <a:pt x="175" y="502"/>
                  </a:lnTo>
                  <a:lnTo>
                    <a:pt x="175" y="499"/>
                  </a:lnTo>
                  <a:lnTo>
                    <a:pt x="177" y="496"/>
                  </a:lnTo>
                  <a:lnTo>
                    <a:pt x="180" y="493"/>
                  </a:lnTo>
                  <a:lnTo>
                    <a:pt x="183" y="487"/>
                  </a:lnTo>
                  <a:lnTo>
                    <a:pt x="180" y="484"/>
                  </a:lnTo>
                  <a:lnTo>
                    <a:pt x="180" y="481"/>
                  </a:lnTo>
                  <a:lnTo>
                    <a:pt x="183" y="478"/>
                  </a:lnTo>
                  <a:lnTo>
                    <a:pt x="183" y="472"/>
                  </a:lnTo>
                  <a:lnTo>
                    <a:pt x="186" y="469"/>
                  </a:lnTo>
                  <a:lnTo>
                    <a:pt x="189" y="463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8" y="451"/>
                  </a:lnTo>
                  <a:lnTo>
                    <a:pt x="198" y="448"/>
                  </a:lnTo>
                  <a:lnTo>
                    <a:pt x="198" y="443"/>
                  </a:lnTo>
                  <a:lnTo>
                    <a:pt x="195" y="443"/>
                  </a:lnTo>
                  <a:lnTo>
                    <a:pt x="192" y="434"/>
                  </a:lnTo>
                  <a:lnTo>
                    <a:pt x="186" y="431"/>
                  </a:lnTo>
                  <a:lnTo>
                    <a:pt x="186" y="425"/>
                  </a:lnTo>
                  <a:lnTo>
                    <a:pt x="186" y="422"/>
                  </a:lnTo>
                  <a:lnTo>
                    <a:pt x="183" y="419"/>
                  </a:lnTo>
                  <a:lnTo>
                    <a:pt x="186" y="419"/>
                  </a:lnTo>
                  <a:lnTo>
                    <a:pt x="186" y="416"/>
                  </a:lnTo>
                  <a:lnTo>
                    <a:pt x="183" y="416"/>
                  </a:lnTo>
                  <a:lnTo>
                    <a:pt x="180" y="419"/>
                  </a:lnTo>
                  <a:lnTo>
                    <a:pt x="177" y="419"/>
                  </a:lnTo>
                  <a:lnTo>
                    <a:pt x="177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77" y="413"/>
                  </a:lnTo>
                  <a:lnTo>
                    <a:pt x="175" y="413"/>
                  </a:lnTo>
                  <a:lnTo>
                    <a:pt x="172" y="413"/>
                  </a:lnTo>
                  <a:lnTo>
                    <a:pt x="169" y="413"/>
                  </a:lnTo>
                  <a:lnTo>
                    <a:pt x="169" y="410"/>
                  </a:lnTo>
                  <a:lnTo>
                    <a:pt x="166" y="407"/>
                  </a:lnTo>
                  <a:lnTo>
                    <a:pt x="163" y="407"/>
                  </a:lnTo>
                  <a:lnTo>
                    <a:pt x="160" y="407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1"/>
                  </a:lnTo>
                  <a:lnTo>
                    <a:pt x="154" y="404"/>
                  </a:lnTo>
                  <a:lnTo>
                    <a:pt x="151" y="404"/>
                  </a:lnTo>
                  <a:lnTo>
                    <a:pt x="151" y="407"/>
                  </a:lnTo>
                  <a:lnTo>
                    <a:pt x="148" y="407"/>
                  </a:lnTo>
                  <a:lnTo>
                    <a:pt x="148" y="404"/>
                  </a:lnTo>
                  <a:lnTo>
                    <a:pt x="145" y="404"/>
                  </a:lnTo>
                  <a:lnTo>
                    <a:pt x="145" y="407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6" y="404"/>
                  </a:lnTo>
                  <a:lnTo>
                    <a:pt x="133" y="404"/>
                  </a:lnTo>
                  <a:lnTo>
                    <a:pt x="130" y="404"/>
                  </a:lnTo>
                  <a:lnTo>
                    <a:pt x="127" y="401"/>
                  </a:lnTo>
                  <a:lnTo>
                    <a:pt x="127" y="398"/>
                  </a:lnTo>
                  <a:lnTo>
                    <a:pt x="124" y="398"/>
                  </a:lnTo>
                  <a:lnTo>
                    <a:pt x="121" y="398"/>
                  </a:lnTo>
                  <a:lnTo>
                    <a:pt x="121" y="392"/>
                  </a:lnTo>
                  <a:lnTo>
                    <a:pt x="118" y="392"/>
                  </a:lnTo>
                  <a:lnTo>
                    <a:pt x="116" y="395"/>
                  </a:lnTo>
                  <a:lnTo>
                    <a:pt x="116" y="392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8"/>
                  </a:lnTo>
                  <a:lnTo>
                    <a:pt x="107" y="398"/>
                  </a:lnTo>
                  <a:lnTo>
                    <a:pt x="104" y="395"/>
                  </a:lnTo>
                  <a:lnTo>
                    <a:pt x="107" y="392"/>
                  </a:lnTo>
                  <a:lnTo>
                    <a:pt x="110" y="392"/>
                  </a:lnTo>
                  <a:lnTo>
                    <a:pt x="113" y="389"/>
                  </a:lnTo>
                  <a:lnTo>
                    <a:pt x="110" y="386"/>
                  </a:lnTo>
                  <a:lnTo>
                    <a:pt x="104" y="384"/>
                  </a:lnTo>
                  <a:lnTo>
                    <a:pt x="101" y="384"/>
                  </a:lnTo>
                  <a:lnTo>
                    <a:pt x="98" y="386"/>
                  </a:lnTo>
                  <a:lnTo>
                    <a:pt x="92" y="389"/>
                  </a:lnTo>
                  <a:lnTo>
                    <a:pt x="89" y="392"/>
                  </a:lnTo>
                  <a:lnTo>
                    <a:pt x="86" y="389"/>
                  </a:lnTo>
                  <a:lnTo>
                    <a:pt x="80" y="389"/>
                  </a:lnTo>
                  <a:lnTo>
                    <a:pt x="77" y="389"/>
                  </a:lnTo>
                  <a:lnTo>
                    <a:pt x="68" y="386"/>
                  </a:lnTo>
                  <a:lnTo>
                    <a:pt x="62" y="386"/>
                  </a:lnTo>
                  <a:lnTo>
                    <a:pt x="57" y="389"/>
                  </a:lnTo>
                  <a:lnTo>
                    <a:pt x="45" y="395"/>
                  </a:lnTo>
                  <a:lnTo>
                    <a:pt x="39" y="395"/>
                  </a:lnTo>
                  <a:lnTo>
                    <a:pt x="33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4" y="395"/>
                  </a:lnTo>
                  <a:lnTo>
                    <a:pt x="27" y="392"/>
                  </a:lnTo>
                  <a:lnTo>
                    <a:pt x="30" y="389"/>
                  </a:lnTo>
                  <a:lnTo>
                    <a:pt x="36" y="386"/>
                  </a:lnTo>
                  <a:lnTo>
                    <a:pt x="42" y="384"/>
                  </a:lnTo>
                  <a:lnTo>
                    <a:pt x="48" y="381"/>
                  </a:lnTo>
                  <a:lnTo>
                    <a:pt x="51" y="381"/>
                  </a:lnTo>
                  <a:lnTo>
                    <a:pt x="57" y="378"/>
                  </a:lnTo>
                  <a:lnTo>
                    <a:pt x="59" y="375"/>
                  </a:lnTo>
                  <a:lnTo>
                    <a:pt x="57" y="375"/>
                  </a:lnTo>
                  <a:lnTo>
                    <a:pt x="48" y="375"/>
                  </a:lnTo>
                  <a:lnTo>
                    <a:pt x="42" y="372"/>
                  </a:lnTo>
                  <a:lnTo>
                    <a:pt x="42" y="369"/>
                  </a:lnTo>
                  <a:lnTo>
                    <a:pt x="39" y="366"/>
                  </a:lnTo>
                  <a:lnTo>
                    <a:pt x="42" y="363"/>
                  </a:lnTo>
                  <a:lnTo>
                    <a:pt x="48" y="357"/>
                  </a:lnTo>
                  <a:lnTo>
                    <a:pt x="51" y="357"/>
                  </a:lnTo>
                  <a:lnTo>
                    <a:pt x="51" y="354"/>
                  </a:lnTo>
                  <a:lnTo>
                    <a:pt x="51" y="348"/>
                  </a:lnTo>
                  <a:lnTo>
                    <a:pt x="48" y="345"/>
                  </a:lnTo>
                  <a:lnTo>
                    <a:pt x="48" y="339"/>
                  </a:lnTo>
                  <a:lnTo>
                    <a:pt x="45" y="339"/>
                  </a:lnTo>
                  <a:lnTo>
                    <a:pt x="39" y="336"/>
                  </a:lnTo>
                  <a:lnTo>
                    <a:pt x="36" y="333"/>
                  </a:lnTo>
                  <a:lnTo>
                    <a:pt x="30" y="330"/>
                  </a:lnTo>
                  <a:lnTo>
                    <a:pt x="27" y="327"/>
                  </a:lnTo>
                  <a:lnTo>
                    <a:pt x="30" y="325"/>
                  </a:lnTo>
                  <a:lnTo>
                    <a:pt x="24" y="319"/>
                  </a:lnTo>
                  <a:lnTo>
                    <a:pt x="18" y="313"/>
                  </a:lnTo>
                  <a:lnTo>
                    <a:pt x="21" y="307"/>
                  </a:lnTo>
                  <a:lnTo>
                    <a:pt x="21" y="301"/>
                  </a:lnTo>
                  <a:lnTo>
                    <a:pt x="18" y="298"/>
                  </a:lnTo>
                  <a:lnTo>
                    <a:pt x="18" y="289"/>
                  </a:lnTo>
                  <a:lnTo>
                    <a:pt x="15" y="286"/>
                  </a:lnTo>
                  <a:lnTo>
                    <a:pt x="12" y="283"/>
                  </a:lnTo>
                  <a:lnTo>
                    <a:pt x="18" y="280"/>
                  </a:lnTo>
                  <a:lnTo>
                    <a:pt x="21" y="277"/>
                  </a:lnTo>
                  <a:lnTo>
                    <a:pt x="30" y="274"/>
                  </a:lnTo>
                  <a:lnTo>
                    <a:pt x="33" y="271"/>
                  </a:lnTo>
                  <a:lnTo>
                    <a:pt x="39" y="268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6" y="260"/>
                  </a:lnTo>
                  <a:lnTo>
                    <a:pt x="33" y="257"/>
                  </a:lnTo>
                  <a:lnTo>
                    <a:pt x="33" y="254"/>
                  </a:lnTo>
                  <a:lnTo>
                    <a:pt x="33" y="251"/>
                  </a:lnTo>
                  <a:lnTo>
                    <a:pt x="36" y="251"/>
                  </a:lnTo>
                  <a:lnTo>
                    <a:pt x="36" y="248"/>
                  </a:lnTo>
                  <a:lnTo>
                    <a:pt x="33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2"/>
                  </a:lnTo>
                  <a:lnTo>
                    <a:pt x="42" y="242"/>
                  </a:lnTo>
                  <a:lnTo>
                    <a:pt x="39" y="242"/>
                  </a:lnTo>
                  <a:lnTo>
                    <a:pt x="36" y="242"/>
                  </a:lnTo>
                  <a:lnTo>
                    <a:pt x="36" y="239"/>
                  </a:lnTo>
                  <a:lnTo>
                    <a:pt x="39" y="239"/>
                  </a:lnTo>
                  <a:lnTo>
                    <a:pt x="39" y="236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6" y="236"/>
                  </a:lnTo>
                  <a:lnTo>
                    <a:pt x="36" y="233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4"/>
                  </a:lnTo>
                  <a:lnTo>
                    <a:pt x="33" y="221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3" y="218"/>
                  </a:lnTo>
                  <a:lnTo>
                    <a:pt x="33" y="215"/>
                  </a:lnTo>
                  <a:lnTo>
                    <a:pt x="33" y="212"/>
                  </a:lnTo>
                  <a:lnTo>
                    <a:pt x="30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1" y="204"/>
                  </a:lnTo>
                  <a:lnTo>
                    <a:pt x="18" y="204"/>
                  </a:lnTo>
                  <a:lnTo>
                    <a:pt x="18" y="201"/>
                  </a:lnTo>
                  <a:lnTo>
                    <a:pt x="21" y="195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6"/>
                  </a:lnTo>
                  <a:lnTo>
                    <a:pt x="21" y="180"/>
                  </a:lnTo>
                  <a:lnTo>
                    <a:pt x="15" y="177"/>
                  </a:lnTo>
                  <a:lnTo>
                    <a:pt x="6" y="171"/>
                  </a:lnTo>
                  <a:lnTo>
                    <a:pt x="9" y="168"/>
                  </a:lnTo>
                  <a:lnTo>
                    <a:pt x="9" y="165"/>
                  </a:lnTo>
                  <a:lnTo>
                    <a:pt x="6" y="165"/>
                  </a:lnTo>
                  <a:lnTo>
                    <a:pt x="6" y="162"/>
                  </a:lnTo>
                  <a:lnTo>
                    <a:pt x="6" y="159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6" y="153"/>
                  </a:lnTo>
                  <a:lnTo>
                    <a:pt x="6" y="150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3" y="145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0" y="136"/>
                  </a:lnTo>
                  <a:lnTo>
                    <a:pt x="3" y="136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7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0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4"/>
                  </a:lnTo>
                  <a:lnTo>
                    <a:pt x="3" y="71"/>
                  </a:lnTo>
                  <a:lnTo>
                    <a:pt x="6" y="68"/>
                  </a:lnTo>
                  <a:lnTo>
                    <a:pt x="3" y="65"/>
                  </a:lnTo>
                  <a:lnTo>
                    <a:pt x="3" y="62"/>
                  </a:lnTo>
                  <a:lnTo>
                    <a:pt x="6" y="62"/>
                  </a:lnTo>
                  <a:lnTo>
                    <a:pt x="3" y="59"/>
                  </a:lnTo>
                  <a:lnTo>
                    <a:pt x="6" y="56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5"/>
                  </a:lnTo>
                  <a:lnTo>
                    <a:pt x="18" y="35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33" y="21"/>
                  </a:lnTo>
                  <a:lnTo>
                    <a:pt x="39" y="15"/>
                  </a:lnTo>
                  <a:lnTo>
                    <a:pt x="48" y="6"/>
                  </a:lnTo>
                  <a:lnTo>
                    <a:pt x="51" y="0"/>
                  </a:lnTo>
                  <a:lnTo>
                    <a:pt x="62" y="0"/>
                  </a:lnTo>
                  <a:lnTo>
                    <a:pt x="77" y="6"/>
                  </a:lnTo>
                  <a:lnTo>
                    <a:pt x="86" y="12"/>
                  </a:lnTo>
                  <a:lnTo>
                    <a:pt x="80" y="18"/>
                  </a:lnTo>
                  <a:lnTo>
                    <a:pt x="74" y="29"/>
                  </a:lnTo>
                  <a:lnTo>
                    <a:pt x="65" y="41"/>
                  </a:lnTo>
                  <a:lnTo>
                    <a:pt x="62" y="50"/>
                  </a:lnTo>
                  <a:lnTo>
                    <a:pt x="68" y="62"/>
                  </a:lnTo>
                  <a:lnTo>
                    <a:pt x="71" y="68"/>
                  </a:lnTo>
                  <a:lnTo>
                    <a:pt x="83" y="68"/>
                  </a:lnTo>
                  <a:lnTo>
                    <a:pt x="89" y="65"/>
                  </a:lnTo>
                  <a:lnTo>
                    <a:pt x="89" y="74"/>
                  </a:lnTo>
                  <a:lnTo>
                    <a:pt x="95" y="80"/>
                  </a:lnTo>
                  <a:lnTo>
                    <a:pt x="101" y="83"/>
                  </a:lnTo>
                  <a:lnTo>
                    <a:pt x="104" y="74"/>
                  </a:lnTo>
                  <a:lnTo>
                    <a:pt x="113" y="68"/>
                  </a:lnTo>
                  <a:lnTo>
                    <a:pt x="116" y="62"/>
                  </a:lnTo>
                  <a:lnTo>
                    <a:pt x="124" y="62"/>
                  </a:lnTo>
                  <a:lnTo>
                    <a:pt x="133" y="59"/>
                  </a:lnTo>
                  <a:lnTo>
                    <a:pt x="151" y="83"/>
                  </a:lnTo>
                  <a:lnTo>
                    <a:pt x="183" y="103"/>
                  </a:lnTo>
                  <a:lnTo>
                    <a:pt x="183" y="106"/>
                  </a:lnTo>
                  <a:lnTo>
                    <a:pt x="172" y="109"/>
                  </a:lnTo>
                  <a:lnTo>
                    <a:pt x="169" y="115"/>
                  </a:lnTo>
                  <a:lnTo>
                    <a:pt x="175" y="121"/>
                  </a:lnTo>
                  <a:lnTo>
                    <a:pt x="183" y="133"/>
                  </a:lnTo>
                  <a:lnTo>
                    <a:pt x="198" y="133"/>
                  </a:lnTo>
                  <a:lnTo>
                    <a:pt x="207" y="133"/>
                  </a:lnTo>
                  <a:lnTo>
                    <a:pt x="207" y="142"/>
                  </a:lnTo>
                  <a:lnTo>
                    <a:pt x="216" y="147"/>
                  </a:lnTo>
                  <a:lnTo>
                    <a:pt x="228" y="153"/>
                  </a:lnTo>
                  <a:lnTo>
                    <a:pt x="237" y="153"/>
                  </a:lnTo>
                  <a:lnTo>
                    <a:pt x="239" y="162"/>
                  </a:lnTo>
                  <a:lnTo>
                    <a:pt x="251" y="162"/>
                  </a:lnTo>
                  <a:lnTo>
                    <a:pt x="260" y="165"/>
                  </a:lnTo>
                  <a:lnTo>
                    <a:pt x="269" y="162"/>
                  </a:lnTo>
                  <a:lnTo>
                    <a:pt x="281" y="159"/>
                  </a:lnTo>
                  <a:lnTo>
                    <a:pt x="281" y="171"/>
                  </a:lnTo>
                  <a:lnTo>
                    <a:pt x="287" y="174"/>
                  </a:lnTo>
                  <a:lnTo>
                    <a:pt x="293" y="1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Freeform 12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20925" y="1573236"/>
              <a:ext cx="152669" cy="124055"/>
            </a:xfrm>
            <a:custGeom>
              <a:avLst/>
              <a:gdLst>
                <a:gd name="T0" fmla="*/ 59 w 924"/>
                <a:gd name="T1" fmla="*/ 628 h 699"/>
                <a:gd name="T2" fmla="*/ 48 w 924"/>
                <a:gd name="T3" fmla="*/ 560 h 699"/>
                <a:gd name="T4" fmla="*/ 45 w 924"/>
                <a:gd name="T5" fmla="*/ 516 h 699"/>
                <a:gd name="T6" fmla="*/ 45 w 924"/>
                <a:gd name="T7" fmla="*/ 481 h 699"/>
                <a:gd name="T8" fmla="*/ 36 w 924"/>
                <a:gd name="T9" fmla="*/ 433 h 699"/>
                <a:gd name="T10" fmla="*/ 24 w 924"/>
                <a:gd name="T11" fmla="*/ 404 h 699"/>
                <a:gd name="T12" fmla="*/ 15 w 924"/>
                <a:gd name="T13" fmla="*/ 354 h 699"/>
                <a:gd name="T14" fmla="*/ 30 w 924"/>
                <a:gd name="T15" fmla="*/ 327 h 699"/>
                <a:gd name="T16" fmla="*/ 12 w 924"/>
                <a:gd name="T17" fmla="*/ 327 h 699"/>
                <a:gd name="T18" fmla="*/ 12 w 924"/>
                <a:gd name="T19" fmla="*/ 283 h 699"/>
                <a:gd name="T20" fmla="*/ 0 w 924"/>
                <a:gd name="T21" fmla="*/ 239 h 699"/>
                <a:gd name="T22" fmla="*/ 27 w 924"/>
                <a:gd name="T23" fmla="*/ 194 h 699"/>
                <a:gd name="T24" fmla="*/ 68 w 924"/>
                <a:gd name="T25" fmla="*/ 203 h 699"/>
                <a:gd name="T26" fmla="*/ 95 w 924"/>
                <a:gd name="T27" fmla="*/ 144 h 699"/>
                <a:gd name="T28" fmla="*/ 151 w 924"/>
                <a:gd name="T29" fmla="*/ 141 h 699"/>
                <a:gd name="T30" fmla="*/ 121 w 924"/>
                <a:gd name="T31" fmla="*/ 97 h 699"/>
                <a:gd name="T32" fmla="*/ 172 w 924"/>
                <a:gd name="T33" fmla="*/ 59 h 699"/>
                <a:gd name="T34" fmla="*/ 145 w 924"/>
                <a:gd name="T35" fmla="*/ 53 h 699"/>
                <a:gd name="T36" fmla="*/ 172 w 924"/>
                <a:gd name="T37" fmla="*/ 8 h 699"/>
                <a:gd name="T38" fmla="*/ 210 w 924"/>
                <a:gd name="T39" fmla="*/ 0 h 699"/>
                <a:gd name="T40" fmla="*/ 281 w 924"/>
                <a:gd name="T41" fmla="*/ 65 h 699"/>
                <a:gd name="T42" fmla="*/ 390 w 924"/>
                <a:gd name="T43" fmla="*/ 85 h 699"/>
                <a:gd name="T44" fmla="*/ 437 w 924"/>
                <a:gd name="T45" fmla="*/ 115 h 699"/>
                <a:gd name="T46" fmla="*/ 496 w 924"/>
                <a:gd name="T47" fmla="*/ 53 h 699"/>
                <a:gd name="T48" fmla="*/ 546 w 924"/>
                <a:gd name="T49" fmla="*/ 70 h 699"/>
                <a:gd name="T50" fmla="*/ 617 w 924"/>
                <a:gd name="T51" fmla="*/ 79 h 699"/>
                <a:gd name="T52" fmla="*/ 670 w 924"/>
                <a:gd name="T53" fmla="*/ 82 h 699"/>
                <a:gd name="T54" fmla="*/ 738 w 924"/>
                <a:gd name="T55" fmla="*/ 56 h 699"/>
                <a:gd name="T56" fmla="*/ 812 w 924"/>
                <a:gd name="T57" fmla="*/ 76 h 699"/>
                <a:gd name="T58" fmla="*/ 892 w 924"/>
                <a:gd name="T59" fmla="*/ 100 h 699"/>
                <a:gd name="T60" fmla="*/ 886 w 924"/>
                <a:gd name="T61" fmla="*/ 162 h 699"/>
                <a:gd name="T62" fmla="*/ 880 w 924"/>
                <a:gd name="T63" fmla="*/ 218 h 699"/>
                <a:gd name="T64" fmla="*/ 871 w 924"/>
                <a:gd name="T65" fmla="*/ 256 h 699"/>
                <a:gd name="T66" fmla="*/ 895 w 924"/>
                <a:gd name="T67" fmla="*/ 289 h 699"/>
                <a:gd name="T68" fmla="*/ 892 w 924"/>
                <a:gd name="T69" fmla="*/ 324 h 699"/>
                <a:gd name="T70" fmla="*/ 853 w 924"/>
                <a:gd name="T71" fmla="*/ 383 h 699"/>
                <a:gd name="T72" fmla="*/ 818 w 924"/>
                <a:gd name="T73" fmla="*/ 380 h 699"/>
                <a:gd name="T74" fmla="*/ 806 w 924"/>
                <a:gd name="T75" fmla="*/ 345 h 699"/>
                <a:gd name="T76" fmla="*/ 818 w 924"/>
                <a:gd name="T77" fmla="*/ 304 h 699"/>
                <a:gd name="T78" fmla="*/ 779 w 924"/>
                <a:gd name="T79" fmla="*/ 295 h 699"/>
                <a:gd name="T80" fmla="*/ 741 w 924"/>
                <a:gd name="T81" fmla="*/ 292 h 699"/>
                <a:gd name="T82" fmla="*/ 697 w 924"/>
                <a:gd name="T83" fmla="*/ 283 h 699"/>
                <a:gd name="T84" fmla="*/ 664 w 924"/>
                <a:gd name="T85" fmla="*/ 265 h 699"/>
                <a:gd name="T86" fmla="*/ 641 w 924"/>
                <a:gd name="T87" fmla="*/ 265 h 699"/>
                <a:gd name="T88" fmla="*/ 617 w 924"/>
                <a:gd name="T89" fmla="*/ 315 h 699"/>
                <a:gd name="T90" fmla="*/ 585 w 924"/>
                <a:gd name="T91" fmla="*/ 327 h 699"/>
                <a:gd name="T92" fmla="*/ 588 w 924"/>
                <a:gd name="T93" fmla="*/ 371 h 699"/>
                <a:gd name="T94" fmla="*/ 564 w 924"/>
                <a:gd name="T95" fmla="*/ 395 h 699"/>
                <a:gd name="T96" fmla="*/ 535 w 924"/>
                <a:gd name="T97" fmla="*/ 433 h 699"/>
                <a:gd name="T98" fmla="*/ 487 w 924"/>
                <a:gd name="T99" fmla="*/ 436 h 699"/>
                <a:gd name="T100" fmla="*/ 443 w 924"/>
                <a:gd name="T101" fmla="*/ 475 h 699"/>
                <a:gd name="T102" fmla="*/ 405 w 924"/>
                <a:gd name="T103" fmla="*/ 507 h 699"/>
                <a:gd name="T104" fmla="*/ 363 w 924"/>
                <a:gd name="T105" fmla="*/ 525 h 699"/>
                <a:gd name="T106" fmla="*/ 337 w 924"/>
                <a:gd name="T107" fmla="*/ 519 h 699"/>
                <a:gd name="T108" fmla="*/ 322 w 924"/>
                <a:gd name="T109" fmla="*/ 540 h 699"/>
                <a:gd name="T110" fmla="*/ 275 w 924"/>
                <a:gd name="T111" fmla="*/ 569 h 699"/>
                <a:gd name="T112" fmla="*/ 216 w 924"/>
                <a:gd name="T113" fmla="*/ 581 h 699"/>
                <a:gd name="T114" fmla="*/ 166 w 924"/>
                <a:gd name="T115" fmla="*/ 599 h 699"/>
                <a:gd name="T116" fmla="*/ 172 w 924"/>
                <a:gd name="T117" fmla="*/ 631 h 699"/>
                <a:gd name="T118" fmla="*/ 163 w 924"/>
                <a:gd name="T119" fmla="*/ 681 h 699"/>
                <a:gd name="T120" fmla="*/ 113 w 924"/>
                <a:gd name="T121" fmla="*/ 693 h 6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24"/>
                <a:gd name="T184" fmla="*/ 0 h 699"/>
                <a:gd name="T185" fmla="*/ 924 w 924"/>
                <a:gd name="T186" fmla="*/ 699 h 6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24" h="699">
                  <a:moveTo>
                    <a:pt x="83" y="684"/>
                  </a:moveTo>
                  <a:lnTo>
                    <a:pt x="83" y="678"/>
                  </a:lnTo>
                  <a:lnTo>
                    <a:pt x="80" y="672"/>
                  </a:lnTo>
                  <a:lnTo>
                    <a:pt x="80" y="670"/>
                  </a:lnTo>
                  <a:lnTo>
                    <a:pt x="77" y="667"/>
                  </a:lnTo>
                  <a:lnTo>
                    <a:pt x="74" y="667"/>
                  </a:lnTo>
                  <a:lnTo>
                    <a:pt x="74" y="664"/>
                  </a:lnTo>
                  <a:lnTo>
                    <a:pt x="71" y="661"/>
                  </a:lnTo>
                  <a:lnTo>
                    <a:pt x="68" y="658"/>
                  </a:lnTo>
                  <a:lnTo>
                    <a:pt x="65" y="658"/>
                  </a:lnTo>
                  <a:lnTo>
                    <a:pt x="65" y="655"/>
                  </a:lnTo>
                  <a:lnTo>
                    <a:pt x="65" y="652"/>
                  </a:lnTo>
                  <a:lnTo>
                    <a:pt x="62" y="649"/>
                  </a:lnTo>
                  <a:lnTo>
                    <a:pt x="62" y="646"/>
                  </a:lnTo>
                  <a:lnTo>
                    <a:pt x="62" y="640"/>
                  </a:lnTo>
                  <a:lnTo>
                    <a:pt x="59" y="637"/>
                  </a:lnTo>
                  <a:lnTo>
                    <a:pt x="59" y="628"/>
                  </a:lnTo>
                  <a:lnTo>
                    <a:pt x="59" y="625"/>
                  </a:lnTo>
                  <a:lnTo>
                    <a:pt x="56" y="616"/>
                  </a:lnTo>
                  <a:lnTo>
                    <a:pt x="53" y="610"/>
                  </a:lnTo>
                  <a:lnTo>
                    <a:pt x="53" y="608"/>
                  </a:lnTo>
                  <a:lnTo>
                    <a:pt x="53" y="602"/>
                  </a:lnTo>
                  <a:lnTo>
                    <a:pt x="51" y="596"/>
                  </a:lnTo>
                  <a:lnTo>
                    <a:pt x="51" y="593"/>
                  </a:lnTo>
                  <a:lnTo>
                    <a:pt x="51" y="590"/>
                  </a:lnTo>
                  <a:lnTo>
                    <a:pt x="53" y="590"/>
                  </a:lnTo>
                  <a:lnTo>
                    <a:pt x="51" y="587"/>
                  </a:lnTo>
                  <a:lnTo>
                    <a:pt x="53" y="584"/>
                  </a:lnTo>
                  <a:lnTo>
                    <a:pt x="53" y="581"/>
                  </a:lnTo>
                  <a:lnTo>
                    <a:pt x="53" y="575"/>
                  </a:lnTo>
                  <a:lnTo>
                    <a:pt x="51" y="572"/>
                  </a:lnTo>
                  <a:lnTo>
                    <a:pt x="48" y="566"/>
                  </a:lnTo>
                  <a:lnTo>
                    <a:pt x="51" y="563"/>
                  </a:lnTo>
                  <a:lnTo>
                    <a:pt x="48" y="560"/>
                  </a:lnTo>
                  <a:lnTo>
                    <a:pt x="48" y="557"/>
                  </a:lnTo>
                  <a:lnTo>
                    <a:pt x="48" y="554"/>
                  </a:lnTo>
                  <a:lnTo>
                    <a:pt x="48" y="551"/>
                  </a:lnTo>
                  <a:lnTo>
                    <a:pt x="48" y="549"/>
                  </a:lnTo>
                  <a:lnTo>
                    <a:pt x="48" y="543"/>
                  </a:lnTo>
                  <a:lnTo>
                    <a:pt x="48" y="540"/>
                  </a:lnTo>
                  <a:lnTo>
                    <a:pt x="45" y="540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4"/>
                  </a:lnTo>
                  <a:lnTo>
                    <a:pt x="48" y="531"/>
                  </a:lnTo>
                  <a:lnTo>
                    <a:pt x="45" y="528"/>
                  </a:lnTo>
                  <a:lnTo>
                    <a:pt x="48" y="528"/>
                  </a:lnTo>
                  <a:lnTo>
                    <a:pt x="48" y="525"/>
                  </a:lnTo>
                  <a:lnTo>
                    <a:pt x="45" y="522"/>
                  </a:lnTo>
                  <a:lnTo>
                    <a:pt x="45" y="519"/>
                  </a:lnTo>
                  <a:lnTo>
                    <a:pt x="45" y="516"/>
                  </a:lnTo>
                  <a:lnTo>
                    <a:pt x="42" y="513"/>
                  </a:lnTo>
                  <a:lnTo>
                    <a:pt x="42" y="510"/>
                  </a:lnTo>
                  <a:lnTo>
                    <a:pt x="45" y="513"/>
                  </a:lnTo>
                  <a:lnTo>
                    <a:pt x="48" y="513"/>
                  </a:lnTo>
                  <a:lnTo>
                    <a:pt x="48" y="510"/>
                  </a:lnTo>
                  <a:lnTo>
                    <a:pt x="45" y="507"/>
                  </a:lnTo>
                  <a:lnTo>
                    <a:pt x="42" y="501"/>
                  </a:lnTo>
                  <a:lnTo>
                    <a:pt x="39" y="498"/>
                  </a:lnTo>
                  <a:lnTo>
                    <a:pt x="39" y="495"/>
                  </a:lnTo>
                  <a:lnTo>
                    <a:pt x="42" y="492"/>
                  </a:lnTo>
                  <a:lnTo>
                    <a:pt x="42" y="490"/>
                  </a:lnTo>
                  <a:lnTo>
                    <a:pt x="39" y="487"/>
                  </a:lnTo>
                  <a:lnTo>
                    <a:pt x="39" y="484"/>
                  </a:lnTo>
                  <a:lnTo>
                    <a:pt x="36" y="484"/>
                  </a:lnTo>
                  <a:lnTo>
                    <a:pt x="36" y="481"/>
                  </a:lnTo>
                  <a:lnTo>
                    <a:pt x="39" y="481"/>
                  </a:lnTo>
                  <a:lnTo>
                    <a:pt x="45" y="481"/>
                  </a:lnTo>
                  <a:lnTo>
                    <a:pt x="45" y="478"/>
                  </a:lnTo>
                  <a:lnTo>
                    <a:pt x="42" y="478"/>
                  </a:lnTo>
                  <a:lnTo>
                    <a:pt x="39" y="478"/>
                  </a:lnTo>
                  <a:lnTo>
                    <a:pt x="36" y="478"/>
                  </a:lnTo>
                  <a:lnTo>
                    <a:pt x="36" y="469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0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1"/>
                  </a:lnTo>
                  <a:lnTo>
                    <a:pt x="30" y="445"/>
                  </a:lnTo>
                  <a:lnTo>
                    <a:pt x="30" y="442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30" y="433"/>
                  </a:lnTo>
                  <a:lnTo>
                    <a:pt x="36" y="433"/>
                  </a:lnTo>
                  <a:lnTo>
                    <a:pt x="39" y="436"/>
                  </a:lnTo>
                  <a:lnTo>
                    <a:pt x="39" y="433"/>
                  </a:lnTo>
                  <a:lnTo>
                    <a:pt x="36" y="433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27" y="433"/>
                  </a:lnTo>
                  <a:lnTo>
                    <a:pt x="27" y="430"/>
                  </a:lnTo>
                  <a:lnTo>
                    <a:pt x="24" y="428"/>
                  </a:lnTo>
                  <a:lnTo>
                    <a:pt x="24" y="422"/>
                  </a:lnTo>
                  <a:lnTo>
                    <a:pt x="24" y="419"/>
                  </a:lnTo>
                  <a:lnTo>
                    <a:pt x="24" y="416"/>
                  </a:lnTo>
                  <a:lnTo>
                    <a:pt x="24" y="413"/>
                  </a:lnTo>
                  <a:lnTo>
                    <a:pt x="24" y="410"/>
                  </a:lnTo>
                  <a:lnTo>
                    <a:pt x="21" y="410"/>
                  </a:lnTo>
                  <a:lnTo>
                    <a:pt x="21" y="404"/>
                  </a:lnTo>
                  <a:lnTo>
                    <a:pt x="21" y="401"/>
                  </a:lnTo>
                  <a:lnTo>
                    <a:pt x="24" y="404"/>
                  </a:lnTo>
                  <a:lnTo>
                    <a:pt x="24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21" y="392"/>
                  </a:lnTo>
                  <a:lnTo>
                    <a:pt x="18" y="386"/>
                  </a:lnTo>
                  <a:lnTo>
                    <a:pt x="18" y="383"/>
                  </a:lnTo>
                  <a:lnTo>
                    <a:pt x="18" y="380"/>
                  </a:lnTo>
                  <a:lnTo>
                    <a:pt x="18" y="374"/>
                  </a:lnTo>
                  <a:lnTo>
                    <a:pt x="21" y="374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5" y="363"/>
                  </a:lnTo>
                  <a:lnTo>
                    <a:pt x="15" y="360"/>
                  </a:lnTo>
                  <a:lnTo>
                    <a:pt x="15" y="354"/>
                  </a:lnTo>
                  <a:lnTo>
                    <a:pt x="15" y="351"/>
                  </a:lnTo>
                  <a:lnTo>
                    <a:pt x="18" y="348"/>
                  </a:lnTo>
                  <a:lnTo>
                    <a:pt x="21" y="345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30" y="345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27" y="339"/>
                  </a:lnTo>
                  <a:lnTo>
                    <a:pt x="21" y="336"/>
                  </a:lnTo>
                  <a:lnTo>
                    <a:pt x="24" y="333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30" y="330"/>
                  </a:lnTo>
                  <a:lnTo>
                    <a:pt x="33" y="330"/>
                  </a:lnTo>
                  <a:lnTo>
                    <a:pt x="33" y="327"/>
                  </a:lnTo>
                  <a:lnTo>
                    <a:pt x="30" y="327"/>
                  </a:lnTo>
                  <a:lnTo>
                    <a:pt x="27" y="324"/>
                  </a:lnTo>
                  <a:lnTo>
                    <a:pt x="33" y="324"/>
                  </a:lnTo>
                  <a:lnTo>
                    <a:pt x="36" y="321"/>
                  </a:lnTo>
                  <a:lnTo>
                    <a:pt x="36" y="312"/>
                  </a:lnTo>
                  <a:lnTo>
                    <a:pt x="33" y="312"/>
                  </a:lnTo>
                  <a:lnTo>
                    <a:pt x="33" y="309"/>
                  </a:lnTo>
                  <a:lnTo>
                    <a:pt x="30" y="309"/>
                  </a:lnTo>
                  <a:lnTo>
                    <a:pt x="30" y="315"/>
                  </a:lnTo>
                  <a:lnTo>
                    <a:pt x="30" y="318"/>
                  </a:lnTo>
                  <a:lnTo>
                    <a:pt x="27" y="321"/>
                  </a:lnTo>
                  <a:lnTo>
                    <a:pt x="24" y="321"/>
                  </a:lnTo>
                  <a:lnTo>
                    <a:pt x="18" y="324"/>
                  </a:lnTo>
                  <a:lnTo>
                    <a:pt x="18" y="330"/>
                  </a:lnTo>
                  <a:lnTo>
                    <a:pt x="15" y="333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27"/>
                  </a:lnTo>
                  <a:lnTo>
                    <a:pt x="12" y="321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9"/>
                  </a:lnTo>
                  <a:lnTo>
                    <a:pt x="12" y="304"/>
                  </a:lnTo>
                  <a:lnTo>
                    <a:pt x="12" y="298"/>
                  </a:lnTo>
                  <a:lnTo>
                    <a:pt x="12" y="295"/>
                  </a:lnTo>
                  <a:lnTo>
                    <a:pt x="12" y="289"/>
                  </a:lnTo>
                  <a:lnTo>
                    <a:pt x="15" y="289"/>
                  </a:lnTo>
                  <a:lnTo>
                    <a:pt x="18" y="289"/>
                  </a:lnTo>
                  <a:lnTo>
                    <a:pt x="21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18" y="286"/>
                  </a:lnTo>
                  <a:lnTo>
                    <a:pt x="15" y="286"/>
                  </a:lnTo>
                  <a:lnTo>
                    <a:pt x="12" y="286"/>
                  </a:lnTo>
                  <a:lnTo>
                    <a:pt x="12" y="283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2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12" y="265"/>
                  </a:lnTo>
                  <a:lnTo>
                    <a:pt x="9" y="268"/>
                  </a:lnTo>
                  <a:lnTo>
                    <a:pt x="3" y="265"/>
                  </a:lnTo>
                  <a:lnTo>
                    <a:pt x="6" y="256"/>
                  </a:lnTo>
                  <a:lnTo>
                    <a:pt x="6" y="253"/>
                  </a:lnTo>
                  <a:lnTo>
                    <a:pt x="6" y="250"/>
                  </a:lnTo>
                  <a:lnTo>
                    <a:pt x="6" y="245"/>
                  </a:lnTo>
                  <a:lnTo>
                    <a:pt x="6" y="242"/>
                  </a:lnTo>
                  <a:lnTo>
                    <a:pt x="3" y="242"/>
                  </a:lnTo>
                  <a:lnTo>
                    <a:pt x="0" y="239"/>
                  </a:lnTo>
                  <a:lnTo>
                    <a:pt x="3" y="236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3" y="227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9" y="212"/>
                  </a:lnTo>
                  <a:lnTo>
                    <a:pt x="9" y="206"/>
                  </a:lnTo>
                  <a:lnTo>
                    <a:pt x="12" y="200"/>
                  </a:lnTo>
                  <a:lnTo>
                    <a:pt x="12" y="197"/>
                  </a:lnTo>
                  <a:lnTo>
                    <a:pt x="12" y="194"/>
                  </a:lnTo>
                  <a:lnTo>
                    <a:pt x="15" y="194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4" y="194"/>
                  </a:lnTo>
                  <a:lnTo>
                    <a:pt x="27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6" y="197"/>
                  </a:lnTo>
                  <a:lnTo>
                    <a:pt x="36" y="200"/>
                  </a:lnTo>
                  <a:lnTo>
                    <a:pt x="39" y="200"/>
                  </a:lnTo>
                  <a:lnTo>
                    <a:pt x="42" y="203"/>
                  </a:lnTo>
                  <a:lnTo>
                    <a:pt x="45" y="206"/>
                  </a:lnTo>
                  <a:lnTo>
                    <a:pt x="48" y="206"/>
                  </a:lnTo>
                  <a:lnTo>
                    <a:pt x="53" y="206"/>
                  </a:lnTo>
                  <a:lnTo>
                    <a:pt x="53" y="209"/>
                  </a:lnTo>
                  <a:lnTo>
                    <a:pt x="59" y="209"/>
                  </a:lnTo>
                  <a:lnTo>
                    <a:pt x="62" y="206"/>
                  </a:lnTo>
                  <a:lnTo>
                    <a:pt x="65" y="206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71" y="197"/>
                  </a:lnTo>
                  <a:lnTo>
                    <a:pt x="74" y="197"/>
                  </a:lnTo>
                  <a:lnTo>
                    <a:pt x="80" y="197"/>
                  </a:lnTo>
                  <a:lnTo>
                    <a:pt x="86" y="197"/>
                  </a:lnTo>
                  <a:lnTo>
                    <a:pt x="89" y="194"/>
                  </a:lnTo>
                  <a:lnTo>
                    <a:pt x="89" y="189"/>
                  </a:lnTo>
                  <a:lnTo>
                    <a:pt x="92" y="183"/>
                  </a:lnTo>
                  <a:lnTo>
                    <a:pt x="89" y="180"/>
                  </a:lnTo>
                  <a:lnTo>
                    <a:pt x="86" y="177"/>
                  </a:lnTo>
                  <a:lnTo>
                    <a:pt x="92" y="171"/>
                  </a:lnTo>
                  <a:lnTo>
                    <a:pt x="95" y="168"/>
                  </a:lnTo>
                  <a:lnTo>
                    <a:pt x="98" y="162"/>
                  </a:lnTo>
                  <a:lnTo>
                    <a:pt x="98" y="156"/>
                  </a:lnTo>
                  <a:lnTo>
                    <a:pt x="92" y="153"/>
                  </a:lnTo>
                  <a:lnTo>
                    <a:pt x="92" y="150"/>
                  </a:lnTo>
                  <a:lnTo>
                    <a:pt x="92" y="144"/>
                  </a:lnTo>
                  <a:lnTo>
                    <a:pt x="95" y="144"/>
                  </a:lnTo>
                  <a:lnTo>
                    <a:pt x="98" y="144"/>
                  </a:lnTo>
                  <a:lnTo>
                    <a:pt x="101" y="144"/>
                  </a:lnTo>
                  <a:lnTo>
                    <a:pt x="110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5" y="156"/>
                  </a:lnTo>
                  <a:lnTo>
                    <a:pt x="118" y="156"/>
                  </a:lnTo>
                  <a:lnTo>
                    <a:pt x="124" y="156"/>
                  </a:lnTo>
                  <a:lnTo>
                    <a:pt x="127" y="156"/>
                  </a:lnTo>
                  <a:lnTo>
                    <a:pt x="133" y="156"/>
                  </a:lnTo>
                  <a:lnTo>
                    <a:pt x="136" y="156"/>
                  </a:lnTo>
                  <a:lnTo>
                    <a:pt x="139" y="153"/>
                  </a:lnTo>
                  <a:lnTo>
                    <a:pt x="136" y="147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5" y="144"/>
                  </a:lnTo>
                  <a:lnTo>
                    <a:pt x="151" y="141"/>
                  </a:lnTo>
                  <a:lnTo>
                    <a:pt x="154" y="135"/>
                  </a:lnTo>
                  <a:lnTo>
                    <a:pt x="154" y="132"/>
                  </a:lnTo>
                  <a:lnTo>
                    <a:pt x="151" y="127"/>
                  </a:lnTo>
                  <a:lnTo>
                    <a:pt x="151" y="121"/>
                  </a:lnTo>
                  <a:lnTo>
                    <a:pt x="148" y="121"/>
                  </a:lnTo>
                  <a:lnTo>
                    <a:pt x="148" y="118"/>
                  </a:lnTo>
                  <a:lnTo>
                    <a:pt x="148" y="115"/>
                  </a:lnTo>
                  <a:lnTo>
                    <a:pt x="148" y="112"/>
                  </a:lnTo>
                  <a:lnTo>
                    <a:pt x="145" y="109"/>
                  </a:lnTo>
                  <a:lnTo>
                    <a:pt x="142" y="106"/>
                  </a:lnTo>
                  <a:lnTo>
                    <a:pt x="139" y="103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27" y="97"/>
                  </a:lnTo>
                  <a:lnTo>
                    <a:pt x="121" y="97"/>
                  </a:lnTo>
                  <a:lnTo>
                    <a:pt x="118" y="91"/>
                  </a:lnTo>
                  <a:lnTo>
                    <a:pt x="121" y="91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39" y="88"/>
                  </a:lnTo>
                  <a:lnTo>
                    <a:pt x="142" y="85"/>
                  </a:lnTo>
                  <a:lnTo>
                    <a:pt x="142" y="82"/>
                  </a:lnTo>
                  <a:lnTo>
                    <a:pt x="145" y="79"/>
                  </a:lnTo>
                  <a:lnTo>
                    <a:pt x="151" y="79"/>
                  </a:lnTo>
                  <a:lnTo>
                    <a:pt x="154" y="79"/>
                  </a:lnTo>
                  <a:lnTo>
                    <a:pt x="157" y="76"/>
                  </a:lnTo>
                  <a:lnTo>
                    <a:pt x="157" y="70"/>
                  </a:lnTo>
                  <a:lnTo>
                    <a:pt x="160" y="68"/>
                  </a:lnTo>
                  <a:lnTo>
                    <a:pt x="163" y="62"/>
                  </a:lnTo>
                  <a:lnTo>
                    <a:pt x="169" y="62"/>
                  </a:lnTo>
                  <a:lnTo>
                    <a:pt x="172" y="59"/>
                  </a:lnTo>
                  <a:lnTo>
                    <a:pt x="174" y="62"/>
                  </a:lnTo>
                  <a:lnTo>
                    <a:pt x="180" y="59"/>
                  </a:lnTo>
                  <a:lnTo>
                    <a:pt x="186" y="59"/>
                  </a:lnTo>
                  <a:lnTo>
                    <a:pt x="192" y="59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5" y="50"/>
                  </a:lnTo>
                  <a:lnTo>
                    <a:pt x="192" y="50"/>
                  </a:lnTo>
                  <a:lnTo>
                    <a:pt x="186" y="50"/>
                  </a:lnTo>
                  <a:lnTo>
                    <a:pt x="180" y="50"/>
                  </a:lnTo>
                  <a:lnTo>
                    <a:pt x="177" y="50"/>
                  </a:lnTo>
                  <a:lnTo>
                    <a:pt x="172" y="50"/>
                  </a:lnTo>
                  <a:lnTo>
                    <a:pt x="166" y="50"/>
                  </a:lnTo>
                  <a:lnTo>
                    <a:pt x="157" y="53"/>
                  </a:lnTo>
                  <a:lnTo>
                    <a:pt x="151" y="53"/>
                  </a:lnTo>
                  <a:lnTo>
                    <a:pt x="148" y="53"/>
                  </a:lnTo>
                  <a:lnTo>
                    <a:pt x="145" y="53"/>
                  </a:lnTo>
                  <a:lnTo>
                    <a:pt x="145" y="50"/>
                  </a:lnTo>
                  <a:lnTo>
                    <a:pt x="145" y="44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4" y="32"/>
                  </a:lnTo>
                  <a:lnTo>
                    <a:pt x="151" y="26"/>
                  </a:lnTo>
                  <a:lnTo>
                    <a:pt x="148" y="23"/>
                  </a:lnTo>
                  <a:lnTo>
                    <a:pt x="148" y="20"/>
                  </a:lnTo>
                  <a:lnTo>
                    <a:pt x="145" y="17"/>
                  </a:lnTo>
                  <a:lnTo>
                    <a:pt x="148" y="14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9" y="11"/>
                  </a:lnTo>
                  <a:lnTo>
                    <a:pt x="172" y="8"/>
                  </a:lnTo>
                  <a:lnTo>
                    <a:pt x="174" y="8"/>
                  </a:lnTo>
                  <a:lnTo>
                    <a:pt x="177" y="8"/>
                  </a:lnTo>
                  <a:lnTo>
                    <a:pt x="177" y="6"/>
                  </a:lnTo>
                  <a:lnTo>
                    <a:pt x="180" y="6"/>
                  </a:lnTo>
                  <a:lnTo>
                    <a:pt x="183" y="6"/>
                  </a:lnTo>
                  <a:lnTo>
                    <a:pt x="186" y="6"/>
                  </a:lnTo>
                  <a:lnTo>
                    <a:pt x="189" y="8"/>
                  </a:lnTo>
                  <a:lnTo>
                    <a:pt x="192" y="8"/>
                  </a:lnTo>
                  <a:lnTo>
                    <a:pt x="195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3" y="0"/>
                  </a:lnTo>
                  <a:lnTo>
                    <a:pt x="216" y="0"/>
                  </a:lnTo>
                  <a:lnTo>
                    <a:pt x="219" y="6"/>
                  </a:lnTo>
                  <a:lnTo>
                    <a:pt x="225" y="14"/>
                  </a:lnTo>
                  <a:lnTo>
                    <a:pt x="222" y="20"/>
                  </a:lnTo>
                  <a:lnTo>
                    <a:pt x="219" y="32"/>
                  </a:lnTo>
                  <a:lnTo>
                    <a:pt x="225" y="38"/>
                  </a:lnTo>
                  <a:lnTo>
                    <a:pt x="228" y="41"/>
                  </a:lnTo>
                  <a:lnTo>
                    <a:pt x="245" y="47"/>
                  </a:lnTo>
                  <a:lnTo>
                    <a:pt x="251" y="47"/>
                  </a:lnTo>
                  <a:lnTo>
                    <a:pt x="260" y="47"/>
                  </a:lnTo>
                  <a:lnTo>
                    <a:pt x="263" y="50"/>
                  </a:lnTo>
                  <a:lnTo>
                    <a:pt x="269" y="53"/>
                  </a:lnTo>
                  <a:lnTo>
                    <a:pt x="275" y="53"/>
                  </a:lnTo>
                  <a:lnTo>
                    <a:pt x="278" y="56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87" y="70"/>
                  </a:lnTo>
                  <a:lnTo>
                    <a:pt x="293" y="73"/>
                  </a:lnTo>
                  <a:lnTo>
                    <a:pt x="298" y="73"/>
                  </a:lnTo>
                  <a:lnTo>
                    <a:pt x="304" y="73"/>
                  </a:lnTo>
                  <a:lnTo>
                    <a:pt x="307" y="73"/>
                  </a:lnTo>
                  <a:lnTo>
                    <a:pt x="313" y="76"/>
                  </a:lnTo>
                  <a:lnTo>
                    <a:pt x="328" y="79"/>
                  </a:lnTo>
                  <a:lnTo>
                    <a:pt x="340" y="82"/>
                  </a:lnTo>
                  <a:lnTo>
                    <a:pt x="349" y="79"/>
                  </a:lnTo>
                  <a:lnTo>
                    <a:pt x="355" y="82"/>
                  </a:lnTo>
                  <a:lnTo>
                    <a:pt x="363" y="79"/>
                  </a:lnTo>
                  <a:lnTo>
                    <a:pt x="369" y="79"/>
                  </a:lnTo>
                  <a:lnTo>
                    <a:pt x="375" y="82"/>
                  </a:lnTo>
                  <a:lnTo>
                    <a:pt x="378" y="82"/>
                  </a:lnTo>
                  <a:lnTo>
                    <a:pt x="381" y="82"/>
                  </a:lnTo>
                  <a:lnTo>
                    <a:pt x="387" y="85"/>
                  </a:lnTo>
                  <a:lnTo>
                    <a:pt x="390" y="85"/>
                  </a:lnTo>
                  <a:lnTo>
                    <a:pt x="393" y="88"/>
                  </a:lnTo>
                  <a:lnTo>
                    <a:pt x="396" y="94"/>
                  </a:lnTo>
                  <a:lnTo>
                    <a:pt x="396" y="97"/>
                  </a:lnTo>
                  <a:lnTo>
                    <a:pt x="399" y="103"/>
                  </a:lnTo>
                  <a:lnTo>
                    <a:pt x="399" y="106"/>
                  </a:lnTo>
                  <a:lnTo>
                    <a:pt x="396" y="106"/>
                  </a:lnTo>
                  <a:lnTo>
                    <a:pt x="390" y="106"/>
                  </a:lnTo>
                  <a:lnTo>
                    <a:pt x="393" y="112"/>
                  </a:lnTo>
                  <a:lnTo>
                    <a:pt x="399" y="115"/>
                  </a:lnTo>
                  <a:lnTo>
                    <a:pt x="399" y="118"/>
                  </a:lnTo>
                  <a:lnTo>
                    <a:pt x="405" y="118"/>
                  </a:lnTo>
                  <a:lnTo>
                    <a:pt x="411" y="118"/>
                  </a:lnTo>
                  <a:lnTo>
                    <a:pt x="416" y="121"/>
                  </a:lnTo>
                  <a:lnTo>
                    <a:pt x="419" y="121"/>
                  </a:lnTo>
                  <a:lnTo>
                    <a:pt x="425" y="118"/>
                  </a:lnTo>
                  <a:lnTo>
                    <a:pt x="431" y="115"/>
                  </a:lnTo>
                  <a:lnTo>
                    <a:pt x="437" y="115"/>
                  </a:lnTo>
                  <a:lnTo>
                    <a:pt x="446" y="115"/>
                  </a:lnTo>
                  <a:lnTo>
                    <a:pt x="449" y="112"/>
                  </a:lnTo>
                  <a:lnTo>
                    <a:pt x="452" y="103"/>
                  </a:lnTo>
                  <a:lnTo>
                    <a:pt x="455" y="100"/>
                  </a:lnTo>
                  <a:lnTo>
                    <a:pt x="458" y="97"/>
                  </a:lnTo>
                  <a:lnTo>
                    <a:pt x="455" y="97"/>
                  </a:lnTo>
                  <a:lnTo>
                    <a:pt x="449" y="94"/>
                  </a:lnTo>
                  <a:lnTo>
                    <a:pt x="455" y="88"/>
                  </a:lnTo>
                  <a:lnTo>
                    <a:pt x="461" y="85"/>
                  </a:lnTo>
                  <a:lnTo>
                    <a:pt x="464" y="79"/>
                  </a:lnTo>
                  <a:lnTo>
                    <a:pt x="464" y="76"/>
                  </a:lnTo>
                  <a:lnTo>
                    <a:pt x="467" y="70"/>
                  </a:lnTo>
                  <a:lnTo>
                    <a:pt x="470" y="65"/>
                  </a:lnTo>
                  <a:lnTo>
                    <a:pt x="478" y="62"/>
                  </a:lnTo>
                  <a:lnTo>
                    <a:pt x="484" y="62"/>
                  </a:lnTo>
                  <a:lnTo>
                    <a:pt x="490" y="59"/>
                  </a:lnTo>
                  <a:lnTo>
                    <a:pt x="496" y="53"/>
                  </a:lnTo>
                  <a:lnTo>
                    <a:pt x="502" y="50"/>
                  </a:lnTo>
                  <a:lnTo>
                    <a:pt x="505" y="50"/>
                  </a:lnTo>
                  <a:lnTo>
                    <a:pt x="511" y="50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3" y="50"/>
                  </a:lnTo>
                  <a:lnTo>
                    <a:pt x="529" y="47"/>
                  </a:lnTo>
                  <a:lnTo>
                    <a:pt x="537" y="47"/>
                  </a:lnTo>
                  <a:lnTo>
                    <a:pt x="543" y="47"/>
                  </a:lnTo>
                  <a:lnTo>
                    <a:pt x="552" y="50"/>
                  </a:lnTo>
                  <a:lnTo>
                    <a:pt x="555" y="56"/>
                  </a:lnTo>
                  <a:lnTo>
                    <a:pt x="555" y="62"/>
                  </a:lnTo>
                  <a:lnTo>
                    <a:pt x="558" y="68"/>
                  </a:lnTo>
                  <a:lnTo>
                    <a:pt x="558" y="70"/>
                  </a:lnTo>
                  <a:lnTo>
                    <a:pt x="558" y="73"/>
                  </a:lnTo>
                  <a:lnTo>
                    <a:pt x="552" y="73"/>
                  </a:lnTo>
                  <a:lnTo>
                    <a:pt x="546" y="70"/>
                  </a:lnTo>
                  <a:lnTo>
                    <a:pt x="543" y="70"/>
                  </a:lnTo>
                  <a:lnTo>
                    <a:pt x="540" y="73"/>
                  </a:lnTo>
                  <a:lnTo>
                    <a:pt x="540" y="76"/>
                  </a:lnTo>
                  <a:lnTo>
                    <a:pt x="543" y="79"/>
                  </a:lnTo>
                  <a:lnTo>
                    <a:pt x="546" y="82"/>
                  </a:lnTo>
                  <a:lnTo>
                    <a:pt x="543" y="85"/>
                  </a:lnTo>
                  <a:lnTo>
                    <a:pt x="546" y="88"/>
                  </a:lnTo>
                  <a:lnTo>
                    <a:pt x="552" y="88"/>
                  </a:lnTo>
                  <a:lnTo>
                    <a:pt x="555" y="91"/>
                  </a:lnTo>
                  <a:lnTo>
                    <a:pt x="558" y="91"/>
                  </a:lnTo>
                  <a:lnTo>
                    <a:pt x="561" y="88"/>
                  </a:lnTo>
                  <a:lnTo>
                    <a:pt x="570" y="91"/>
                  </a:lnTo>
                  <a:lnTo>
                    <a:pt x="579" y="88"/>
                  </a:lnTo>
                  <a:lnTo>
                    <a:pt x="585" y="88"/>
                  </a:lnTo>
                  <a:lnTo>
                    <a:pt x="591" y="91"/>
                  </a:lnTo>
                  <a:lnTo>
                    <a:pt x="605" y="85"/>
                  </a:lnTo>
                  <a:lnTo>
                    <a:pt x="617" y="79"/>
                  </a:lnTo>
                  <a:lnTo>
                    <a:pt x="620" y="76"/>
                  </a:lnTo>
                  <a:lnTo>
                    <a:pt x="620" y="73"/>
                  </a:lnTo>
                  <a:lnTo>
                    <a:pt x="626" y="73"/>
                  </a:lnTo>
                  <a:lnTo>
                    <a:pt x="629" y="70"/>
                  </a:lnTo>
                  <a:lnTo>
                    <a:pt x="635" y="70"/>
                  </a:lnTo>
                  <a:lnTo>
                    <a:pt x="638" y="70"/>
                  </a:lnTo>
                  <a:lnTo>
                    <a:pt x="644" y="68"/>
                  </a:lnTo>
                  <a:lnTo>
                    <a:pt x="647" y="65"/>
                  </a:lnTo>
                  <a:lnTo>
                    <a:pt x="650" y="68"/>
                  </a:lnTo>
                  <a:lnTo>
                    <a:pt x="653" y="73"/>
                  </a:lnTo>
                  <a:lnTo>
                    <a:pt x="650" y="76"/>
                  </a:lnTo>
                  <a:lnTo>
                    <a:pt x="650" y="79"/>
                  </a:lnTo>
                  <a:lnTo>
                    <a:pt x="653" y="82"/>
                  </a:lnTo>
                  <a:lnTo>
                    <a:pt x="658" y="79"/>
                  </a:lnTo>
                  <a:lnTo>
                    <a:pt x="661" y="79"/>
                  </a:lnTo>
                  <a:lnTo>
                    <a:pt x="667" y="82"/>
                  </a:lnTo>
                  <a:lnTo>
                    <a:pt x="670" y="82"/>
                  </a:lnTo>
                  <a:lnTo>
                    <a:pt x="682" y="82"/>
                  </a:lnTo>
                  <a:lnTo>
                    <a:pt x="685" y="82"/>
                  </a:lnTo>
                  <a:lnTo>
                    <a:pt x="691" y="82"/>
                  </a:lnTo>
                  <a:lnTo>
                    <a:pt x="697" y="82"/>
                  </a:lnTo>
                  <a:lnTo>
                    <a:pt x="700" y="82"/>
                  </a:lnTo>
                  <a:lnTo>
                    <a:pt x="706" y="82"/>
                  </a:lnTo>
                  <a:lnTo>
                    <a:pt x="703" y="76"/>
                  </a:lnTo>
                  <a:lnTo>
                    <a:pt x="706" y="70"/>
                  </a:lnTo>
                  <a:lnTo>
                    <a:pt x="715" y="68"/>
                  </a:lnTo>
                  <a:lnTo>
                    <a:pt x="720" y="70"/>
                  </a:lnTo>
                  <a:lnTo>
                    <a:pt x="723" y="68"/>
                  </a:lnTo>
                  <a:lnTo>
                    <a:pt x="729" y="65"/>
                  </a:lnTo>
                  <a:lnTo>
                    <a:pt x="735" y="65"/>
                  </a:lnTo>
                  <a:lnTo>
                    <a:pt x="738" y="65"/>
                  </a:lnTo>
                  <a:lnTo>
                    <a:pt x="735" y="62"/>
                  </a:lnTo>
                  <a:lnTo>
                    <a:pt x="735" y="59"/>
                  </a:lnTo>
                  <a:lnTo>
                    <a:pt x="738" y="56"/>
                  </a:lnTo>
                  <a:lnTo>
                    <a:pt x="741" y="56"/>
                  </a:lnTo>
                  <a:lnTo>
                    <a:pt x="747" y="62"/>
                  </a:lnTo>
                  <a:lnTo>
                    <a:pt x="750" y="62"/>
                  </a:lnTo>
                  <a:lnTo>
                    <a:pt x="756" y="62"/>
                  </a:lnTo>
                  <a:lnTo>
                    <a:pt x="762" y="59"/>
                  </a:lnTo>
                  <a:lnTo>
                    <a:pt x="768" y="59"/>
                  </a:lnTo>
                  <a:lnTo>
                    <a:pt x="771" y="62"/>
                  </a:lnTo>
                  <a:lnTo>
                    <a:pt x="771" y="68"/>
                  </a:lnTo>
                  <a:lnTo>
                    <a:pt x="771" y="70"/>
                  </a:lnTo>
                  <a:lnTo>
                    <a:pt x="774" y="73"/>
                  </a:lnTo>
                  <a:lnTo>
                    <a:pt x="779" y="73"/>
                  </a:lnTo>
                  <a:lnTo>
                    <a:pt x="785" y="73"/>
                  </a:lnTo>
                  <a:lnTo>
                    <a:pt x="791" y="70"/>
                  </a:lnTo>
                  <a:lnTo>
                    <a:pt x="797" y="70"/>
                  </a:lnTo>
                  <a:lnTo>
                    <a:pt x="803" y="70"/>
                  </a:lnTo>
                  <a:lnTo>
                    <a:pt x="806" y="73"/>
                  </a:lnTo>
                  <a:lnTo>
                    <a:pt x="812" y="76"/>
                  </a:lnTo>
                  <a:lnTo>
                    <a:pt x="815" y="76"/>
                  </a:lnTo>
                  <a:lnTo>
                    <a:pt x="821" y="76"/>
                  </a:lnTo>
                  <a:lnTo>
                    <a:pt x="830" y="73"/>
                  </a:lnTo>
                  <a:lnTo>
                    <a:pt x="833" y="73"/>
                  </a:lnTo>
                  <a:lnTo>
                    <a:pt x="836" y="70"/>
                  </a:lnTo>
                  <a:lnTo>
                    <a:pt x="841" y="68"/>
                  </a:lnTo>
                  <a:lnTo>
                    <a:pt x="847" y="65"/>
                  </a:lnTo>
                  <a:lnTo>
                    <a:pt x="850" y="68"/>
                  </a:lnTo>
                  <a:lnTo>
                    <a:pt x="853" y="70"/>
                  </a:lnTo>
                  <a:lnTo>
                    <a:pt x="859" y="73"/>
                  </a:lnTo>
                  <a:lnTo>
                    <a:pt x="865" y="79"/>
                  </a:lnTo>
                  <a:lnTo>
                    <a:pt x="868" y="85"/>
                  </a:lnTo>
                  <a:lnTo>
                    <a:pt x="868" y="88"/>
                  </a:lnTo>
                  <a:lnTo>
                    <a:pt x="874" y="91"/>
                  </a:lnTo>
                  <a:lnTo>
                    <a:pt x="883" y="97"/>
                  </a:lnTo>
                  <a:lnTo>
                    <a:pt x="889" y="100"/>
                  </a:lnTo>
                  <a:lnTo>
                    <a:pt x="892" y="100"/>
                  </a:lnTo>
                  <a:lnTo>
                    <a:pt x="898" y="100"/>
                  </a:lnTo>
                  <a:lnTo>
                    <a:pt x="900" y="103"/>
                  </a:lnTo>
                  <a:lnTo>
                    <a:pt x="895" y="106"/>
                  </a:lnTo>
                  <a:lnTo>
                    <a:pt x="892" y="112"/>
                  </a:lnTo>
                  <a:lnTo>
                    <a:pt x="886" y="112"/>
                  </a:lnTo>
                  <a:lnTo>
                    <a:pt x="877" y="118"/>
                  </a:lnTo>
                  <a:lnTo>
                    <a:pt x="874" y="121"/>
                  </a:lnTo>
                  <a:lnTo>
                    <a:pt x="871" y="124"/>
                  </a:lnTo>
                  <a:lnTo>
                    <a:pt x="868" y="129"/>
                  </a:lnTo>
                  <a:lnTo>
                    <a:pt x="865" y="135"/>
                  </a:lnTo>
                  <a:lnTo>
                    <a:pt x="874" y="138"/>
                  </a:lnTo>
                  <a:lnTo>
                    <a:pt x="880" y="141"/>
                  </a:lnTo>
                  <a:lnTo>
                    <a:pt x="883" y="144"/>
                  </a:lnTo>
                  <a:lnTo>
                    <a:pt x="886" y="147"/>
                  </a:lnTo>
                  <a:lnTo>
                    <a:pt x="886" y="150"/>
                  </a:lnTo>
                  <a:lnTo>
                    <a:pt x="886" y="153"/>
                  </a:lnTo>
                  <a:lnTo>
                    <a:pt x="886" y="162"/>
                  </a:lnTo>
                  <a:lnTo>
                    <a:pt x="886" y="168"/>
                  </a:lnTo>
                  <a:lnTo>
                    <a:pt x="889" y="171"/>
                  </a:lnTo>
                  <a:lnTo>
                    <a:pt x="883" y="174"/>
                  </a:lnTo>
                  <a:lnTo>
                    <a:pt x="880" y="177"/>
                  </a:lnTo>
                  <a:lnTo>
                    <a:pt x="877" y="180"/>
                  </a:lnTo>
                  <a:lnTo>
                    <a:pt x="880" y="183"/>
                  </a:lnTo>
                  <a:lnTo>
                    <a:pt x="886" y="183"/>
                  </a:lnTo>
                  <a:lnTo>
                    <a:pt x="892" y="180"/>
                  </a:lnTo>
                  <a:lnTo>
                    <a:pt x="895" y="183"/>
                  </a:lnTo>
                  <a:lnTo>
                    <a:pt x="895" y="189"/>
                  </a:lnTo>
                  <a:lnTo>
                    <a:pt x="895" y="197"/>
                  </a:lnTo>
                  <a:lnTo>
                    <a:pt x="892" y="200"/>
                  </a:lnTo>
                  <a:lnTo>
                    <a:pt x="889" y="203"/>
                  </a:lnTo>
                  <a:lnTo>
                    <a:pt x="892" y="206"/>
                  </a:lnTo>
                  <a:lnTo>
                    <a:pt x="892" y="209"/>
                  </a:lnTo>
                  <a:lnTo>
                    <a:pt x="886" y="215"/>
                  </a:lnTo>
                  <a:lnTo>
                    <a:pt x="880" y="218"/>
                  </a:lnTo>
                  <a:lnTo>
                    <a:pt x="874" y="218"/>
                  </a:lnTo>
                  <a:lnTo>
                    <a:pt x="868" y="218"/>
                  </a:lnTo>
                  <a:lnTo>
                    <a:pt x="865" y="221"/>
                  </a:lnTo>
                  <a:lnTo>
                    <a:pt x="868" y="224"/>
                  </a:lnTo>
                  <a:lnTo>
                    <a:pt x="865" y="227"/>
                  </a:lnTo>
                  <a:lnTo>
                    <a:pt x="868" y="233"/>
                  </a:lnTo>
                  <a:lnTo>
                    <a:pt x="874" y="230"/>
                  </a:lnTo>
                  <a:lnTo>
                    <a:pt x="880" y="230"/>
                  </a:lnTo>
                  <a:lnTo>
                    <a:pt x="883" y="233"/>
                  </a:lnTo>
                  <a:lnTo>
                    <a:pt x="886" y="239"/>
                  </a:lnTo>
                  <a:lnTo>
                    <a:pt x="886" y="245"/>
                  </a:lnTo>
                  <a:lnTo>
                    <a:pt x="886" y="248"/>
                  </a:lnTo>
                  <a:lnTo>
                    <a:pt x="883" y="253"/>
                  </a:lnTo>
                  <a:lnTo>
                    <a:pt x="877" y="253"/>
                  </a:lnTo>
                  <a:lnTo>
                    <a:pt x="874" y="253"/>
                  </a:lnTo>
                  <a:lnTo>
                    <a:pt x="868" y="253"/>
                  </a:lnTo>
                  <a:lnTo>
                    <a:pt x="871" y="256"/>
                  </a:lnTo>
                  <a:lnTo>
                    <a:pt x="874" y="256"/>
                  </a:lnTo>
                  <a:lnTo>
                    <a:pt x="877" y="259"/>
                  </a:lnTo>
                  <a:lnTo>
                    <a:pt x="874" y="265"/>
                  </a:lnTo>
                  <a:lnTo>
                    <a:pt x="871" y="265"/>
                  </a:lnTo>
                  <a:lnTo>
                    <a:pt x="865" y="268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65"/>
                  </a:lnTo>
                  <a:lnTo>
                    <a:pt x="877" y="265"/>
                  </a:lnTo>
                  <a:lnTo>
                    <a:pt x="883" y="265"/>
                  </a:lnTo>
                  <a:lnTo>
                    <a:pt x="886" y="271"/>
                  </a:lnTo>
                  <a:lnTo>
                    <a:pt x="886" y="274"/>
                  </a:lnTo>
                  <a:lnTo>
                    <a:pt x="892" y="277"/>
                  </a:lnTo>
                  <a:lnTo>
                    <a:pt x="898" y="280"/>
                  </a:lnTo>
                  <a:lnTo>
                    <a:pt x="898" y="283"/>
                  </a:lnTo>
                  <a:lnTo>
                    <a:pt x="895" y="286"/>
                  </a:lnTo>
                  <a:lnTo>
                    <a:pt x="895" y="289"/>
                  </a:lnTo>
                  <a:lnTo>
                    <a:pt x="903" y="292"/>
                  </a:lnTo>
                  <a:lnTo>
                    <a:pt x="909" y="295"/>
                  </a:lnTo>
                  <a:lnTo>
                    <a:pt x="912" y="295"/>
                  </a:lnTo>
                  <a:lnTo>
                    <a:pt x="918" y="298"/>
                  </a:lnTo>
                  <a:lnTo>
                    <a:pt x="921" y="301"/>
                  </a:lnTo>
                  <a:lnTo>
                    <a:pt x="924" y="304"/>
                  </a:lnTo>
                  <a:lnTo>
                    <a:pt x="921" y="307"/>
                  </a:lnTo>
                  <a:lnTo>
                    <a:pt x="918" y="309"/>
                  </a:lnTo>
                  <a:lnTo>
                    <a:pt x="912" y="309"/>
                  </a:lnTo>
                  <a:lnTo>
                    <a:pt x="909" y="312"/>
                  </a:lnTo>
                  <a:lnTo>
                    <a:pt x="915" y="318"/>
                  </a:lnTo>
                  <a:lnTo>
                    <a:pt x="915" y="321"/>
                  </a:lnTo>
                  <a:lnTo>
                    <a:pt x="906" y="327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898" y="324"/>
                  </a:lnTo>
                  <a:lnTo>
                    <a:pt x="892" y="324"/>
                  </a:lnTo>
                  <a:lnTo>
                    <a:pt x="892" y="318"/>
                  </a:lnTo>
                  <a:lnTo>
                    <a:pt x="889" y="318"/>
                  </a:lnTo>
                  <a:lnTo>
                    <a:pt x="883" y="315"/>
                  </a:lnTo>
                  <a:lnTo>
                    <a:pt x="880" y="318"/>
                  </a:lnTo>
                  <a:lnTo>
                    <a:pt x="874" y="321"/>
                  </a:lnTo>
                  <a:lnTo>
                    <a:pt x="868" y="330"/>
                  </a:lnTo>
                  <a:lnTo>
                    <a:pt x="868" y="333"/>
                  </a:lnTo>
                  <a:lnTo>
                    <a:pt x="868" y="336"/>
                  </a:lnTo>
                  <a:lnTo>
                    <a:pt x="862" y="339"/>
                  </a:lnTo>
                  <a:lnTo>
                    <a:pt x="859" y="342"/>
                  </a:lnTo>
                  <a:lnTo>
                    <a:pt x="859" y="348"/>
                  </a:lnTo>
                  <a:lnTo>
                    <a:pt x="859" y="354"/>
                  </a:lnTo>
                  <a:lnTo>
                    <a:pt x="856" y="357"/>
                  </a:lnTo>
                  <a:lnTo>
                    <a:pt x="853" y="366"/>
                  </a:lnTo>
                  <a:lnTo>
                    <a:pt x="859" y="371"/>
                  </a:lnTo>
                  <a:lnTo>
                    <a:pt x="859" y="377"/>
                  </a:lnTo>
                  <a:lnTo>
                    <a:pt x="853" y="383"/>
                  </a:lnTo>
                  <a:lnTo>
                    <a:pt x="853" y="386"/>
                  </a:lnTo>
                  <a:lnTo>
                    <a:pt x="853" y="389"/>
                  </a:lnTo>
                  <a:lnTo>
                    <a:pt x="850" y="389"/>
                  </a:lnTo>
                  <a:lnTo>
                    <a:pt x="847" y="389"/>
                  </a:lnTo>
                  <a:lnTo>
                    <a:pt x="844" y="389"/>
                  </a:lnTo>
                  <a:lnTo>
                    <a:pt x="844" y="392"/>
                  </a:lnTo>
                  <a:lnTo>
                    <a:pt x="841" y="392"/>
                  </a:lnTo>
                  <a:lnTo>
                    <a:pt x="841" y="389"/>
                  </a:lnTo>
                  <a:lnTo>
                    <a:pt x="838" y="392"/>
                  </a:lnTo>
                  <a:lnTo>
                    <a:pt x="836" y="389"/>
                  </a:lnTo>
                  <a:lnTo>
                    <a:pt x="833" y="386"/>
                  </a:lnTo>
                  <a:lnTo>
                    <a:pt x="830" y="386"/>
                  </a:lnTo>
                  <a:lnTo>
                    <a:pt x="830" y="383"/>
                  </a:lnTo>
                  <a:lnTo>
                    <a:pt x="827" y="383"/>
                  </a:lnTo>
                  <a:lnTo>
                    <a:pt x="824" y="380"/>
                  </a:lnTo>
                  <a:lnTo>
                    <a:pt x="821" y="380"/>
                  </a:lnTo>
                  <a:lnTo>
                    <a:pt x="818" y="380"/>
                  </a:lnTo>
                  <a:lnTo>
                    <a:pt x="815" y="380"/>
                  </a:lnTo>
                  <a:lnTo>
                    <a:pt x="815" y="377"/>
                  </a:lnTo>
                  <a:lnTo>
                    <a:pt x="812" y="377"/>
                  </a:lnTo>
                  <a:lnTo>
                    <a:pt x="812" y="374"/>
                  </a:lnTo>
                  <a:lnTo>
                    <a:pt x="818" y="374"/>
                  </a:lnTo>
                  <a:lnTo>
                    <a:pt x="818" y="371"/>
                  </a:lnTo>
                  <a:lnTo>
                    <a:pt x="818" y="366"/>
                  </a:lnTo>
                  <a:lnTo>
                    <a:pt x="818" y="363"/>
                  </a:lnTo>
                  <a:lnTo>
                    <a:pt x="818" y="360"/>
                  </a:lnTo>
                  <a:lnTo>
                    <a:pt x="818" y="357"/>
                  </a:lnTo>
                  <a:lnTo>
                    <a:pt x="818" y="354"/>
                  </a:lnTo>
                  <a:lnTo>
                    <a:pt x="818" y="351"/>
                  </a:lnTo>
                  <a:lnTo>
                    <a:pt x="815" y="351"/>
                  </a:lnTo>
                  <a:lnTo>
                    <a:pt x="812" y="351"/>
                  </a:lnTo>
                  <a:lnTo>
                    <a:pt x="809" y="351"/>
                  </a:lnTo>
                  <a:lnTo>
                    <a:pt x="809" y="348"/>
                  </a:lnTo>
                  <a:lnTo>
                    <a:pt x="806" y="345"/>
                  </a:lnTo>
                  <a:lnTo>
                    <a:pt x="809" y="342"/>
                  </a:lnTo>
                  <a:lnTo>
                    <a:pt x="812" y="342"/>
                  </a:lnTo>
                  <a:lnTo>
                    <a:pt x="815" y="339"/>
                  </a:lnTo>
                  <a:lnTo>
                    <a:pt x="818" y="339"/>
                  </a:lnTo>
                  <a:lnTo>
                    <a:pt x="818" y="336"/>
                  </a:lnTo>
                  <a:lnTo>
                    <a:pt x="815" y="333"/>
                  </a:lnTo>
                  <a:lnTo>
                    <a:pt x="815" y="330"/>
                  </a:lnTo>
                  <a:lnTo>
                    <a:pt x="815" y="327"/>
                  </a:lnTo>
                  <a:lnTo>
                    <a:pt x="818" y="324"/>
                  </a:lnTo>
                  <a:lnTo>
                    <a:pt x="821" y="321"/>
                  </a:lnTo>
                  <a:lnTo>
                    <a:pt x="818" y="318"/>
                  </a:lnTo>
                  <a:lnTo>
                    <a:pt x="821" y="315"/>
                  </a:lnTo>
                  <a:lnTo>
                    <a:pt x="821" y="312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07"/>
                  </a:lnTo>
                  <a:lnTo>
                    <a:pt x="818" y="304"/>
                  </a:lnTo>
                  <a:lnTo>
                    <a:pt x="815" y="301"/>
                  </a:lnTo>
                  <a:lnTo>
                    <a:pt x="812" y="301"/>
                  </a:lnTo>
                  <a:lnTo>
                    <a:pt x="809" y="301"/>
                  </a:lnTo>
                  <a:lnTo>
                    <a:pt x="806" y="298"/>
                  </a:lnTo>
                  <a:lnTo>
                    <a:pt x="803" y="298"/>
                  </a:lnTo>
                  <a:lnTo>
                    <a:pt x="803" y="295"/>
                  </a:lnTo>
                  <a:lnTo>
                    <a:pt x="800" y="292"/>
                  </a:lnTo>
                  <a:lnTo>
                    <a:pt x="800" y="289"/>
                  </a:lnTo>
                  <a:lnTo>
                    <a:pt x="797" y="289"/>
                  </a:lnTo>
                  <a:lnTo>
                    <a:pt x="794" y="289"/>
                  </a:lnTo>
                  <a:lnTo>
                    <a:pt x="794" y="292"/>
                  </a:lnTo>
                  <a:lnTo>
                    <a:pt x="791" y="292"/>
                  </a:lnTo>
                  <a:lnTo>
                    <a:pt x="788" y="292"/>
                  </a:lnTo>
                  <a:lnTo>
                    <a:pt x="785" y="292"/>
                  </a:lnTo>
                  <a:lnTo>
                    <a:pt x="782" y="292"/>
                  </a:lnTo>
                  <a:lnTo>
                    <a:pt x="782" y="295"/>
                  </a:lnTo>
                  <a:lnTo>
                    <a:pt x="779" y="295"/>
                  </a:lnTo>
                  <a:lnTo>
                    <a:pt x="779" y="298"/>
                  </a:lnTo>
                  <a:lnTo>
                    <a:pt x="779" y="301"/>
                  </a:lnTo>
                  <a:lnTo>
                    <a:pt x="777" y="301"/>
                  </a:lnTo>
                  <a:lnTo>
                    <a:pt x="774" y="298"/>
                  </a:lnTo>
                  <a:lnTo>
                    <a:pt x="774" y="295"/>
                  </a:lnTo>
                  <a:lnTo>
                    <a:pt x="771" y="298"/>
                  </a:lnTo>
                  <a:lnTo>
                    <a:pt x="768" y="298"/>
                  </a:lnTo>
                  <a:lnTo>
                    <a:pt x="768" y="295"/>
                  </a:lnTo>
                  <a:lnTo>
                    <a:pt x="768" y="298"/>
                  </a:lnTo>
                  <a:lnTo>
                    <a:pt x="765" y="301"/>
                  </a:lnTo>
                  <a:lnTo>
                    <a:pt x="762" y="298"/>
                  </a:lnTo>
                  <a:lnTo>
                    <a:pt x="756" y="298"/>
                  </a:lnTo>
                  <a:lnTo>
                    <a:pt x="750" y="295"/>
                  </a:lnTo>
                  <a:lnTo>
                    <a:pt x="747" y="295"/>
                  </a:lnTo>
                  <a:lnTo>
                    <a:pt x="744" y="295"/>
                  </a:lnTo>
                  <a:lnTo>
                    <a:pt x="741" y="295"/>
                  </a:lnTo>
                  <a:lnTo>
                    <a:pt x="741" y="292"/>
                  </a:lnTo>
                  <a:lnTo>
                    <a:pt x="738" y="289"/>
                  </a:lnTo>
                  <a:lnTo>
                    <a:pt x="735" y="292"/>
                  </a:lnTo>
                  <a:lnTo>
                    <a:pt x="735" y="295"/>
                  </a:lnTo>
                  <a:lnTo>
                    <a:pt x="735" y="298"/>
                  </a:lnTo>
                  <a:lnTo>
                    <a:pt x="735" y="301"/>
                  </a:lnTo>
                  <a:lnTo>
                    <a:pt x="732" y="304"/>
                  </a:lnTo>
                  <a:lnTo>
                    <a:pt x="726" y="304"/>
                  </a:lnTo>
                  <a:lnTo>
                    <a:pt x="723" y="301"/>
                  </a:lnTo>
                  <a:lnTo>
                    <a:pt x="717" y="298"/>
                  </a:lnTo>
                  <a:lnTo>
                    <a:pt x="712" y="295"/>
                  </a:lnTo>
                  <a:lnTo>
                    <a:pt x="709" y="298"/>
                  </a:lnTo>
                  <a:lnTo>
                    <a:pt x="706" y="298"/>
                  </a:lnTo>
                  <a:lnTo>
                    <a:pt x="700" y="298"/>
                  </a:lnTo>
                  <a:lnTo>
                    <a:pt x="703" y="292"/>
                  </a:lnTo>
                  <a:lnTo>
                    <a:pt x="703" y="289"/>
                  </a:lnTo>
                  <a:lnTo>
                    <a:pt x="703" y="283"/>
                  </a:lnTo>
                  <a:lnTo>
                    <a:pt x="697" y="283"/>
                  </a:lnTo>
                  <a:lnTo>
                    <a:pt x="691" y="283"/>
                  </a:lnTo>
                  <a:lnTo>
                    <a:pt x="691" y="280"/>
                  </a:lnTo>
                  <a:lnTo>
                    <a:pt x="694" y="277"/>
                  </a:lnTo>
                  <a:lnTo>
                    <a:pt x="694" y="274"/>
                  </a:lnTo>
                  <a:lnTo>
                    <a:pt x="694" y="271"/>
                  </a:lnTo>
                  <a:lnTo>
                    <a:pt x="691" y="271"/>
                  </a:lnTo>
                  <a:lnTo>
                    <a:pt x="688" y="268"/>
                  </a:lnTo>
                  <a:lnTo>
                    <a:pt x="685" y="268"/>
                  </a:lnTo>
                  <a:lnTo>
                    <a:pt x="682" y="268"/>
                  </a:lnTo>
                  <a:lnTo>
                    <a:pt x="682" y="271"/>
                  </a:lnTo>
                  <a:lnTo>
                    <a:pt x="679" y="268"/>
                  </a:lnTo>
                  <a:lnTo>
                    <a:pt x="676" y="268"/>
                  </a:lnTo>
                  <a:lnTo>
                    <a:pt x="676" y="265"/>
                  </a:lnTo>
                  <a:lnTo>
                    <a:pt x="673" y="265"/>
                  </a:lnTo>
                  <a:lnTo>
                    <a:pt x="670" y="265"/>
                  </a:lnTo>
                  <a:lnTo>
                    <a:pt x="667" y="265"/>
                  </a:lnTo>
                  <a:lnTo>
                    <a:pt x="664" y="265"/>
                  </a:lnTo>
                  <a:lnTo>
                    <a:pt x="661" y="262"/>
                  </a:lnTo>
                  <a:lnTo>
                    <a:pt x="661" y="265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3" y="265"/>
                  </a:lnTo>
                  <a:lnTo>
                    <a:pt x="650" y="265"/>
                  </a:lnTo>
                  <a:lnTo>
                    <a:pt x="647" y="262"/>
                  </a:lnTo>
                  <a:lnTo>
                    <a:pt x="644" y="262"/>
                  </a:lnTo>
                  <a:lnTo>
                    <a:pt x="644" y="259"/>
                  </a:lnTo>
                  <a:lnTo>
                    <a:pt x="644" y="256"/>
                  </a:lnTo>
                  <a:lnTo>
                    <a:pt x="641" y="256"/>
                  </a:lnTo>
                  <a:lnTo>
                    <a:pt x="638" y="256"/>
                  </a:lnTo>
                  <a:lnTo>
                    <a:pt x="638" y="253"/>
                  </a:lnTo>
                  <a:lnTo>
                    <a:pt x="635" y="256"/>
                  </a:lnTo>
                  <a:lnTo>
                    <a:pt x="635" y="259"/>
                  </a:lnTo>
                  <a:lnTo>
                    <a:pt x="638" y="262"/>
                  </a:lnTo>
                  <a:lnTo>
                    <a:pt x="641" y="265"/>
                  </a:lnTo>
                  <a:lnTo>
                    <a:pt x="641" y="271"/>
                  </a:lnTo>
                  <a:lnTo>
                    <a:pt x="644" y="274"/>
                  </a:lnTo>
                  <a:lnTo>
                    <a:pt x="644" y="277"/>
                  </a:lnTo>
                  <a:lnTo>
                    <a:pt x="641" y="280"/>
                  </a:lnTo>
                  <a:lnTo>
                    <a:pt x="638" y="280"/>
                  </a:lnTo>
                  <a:lnTo>
                    <a:pt x="638" y="283"/>
                  </a:lnTo>
                  <a:lnTo>
                    <a:pt x="635" y="286"/>
                  </a:lnTo>
                  <a:lnTo>
                    <a:pt x="632" y="289"/>
                  </a:lnTo>
                  <a:lnTo>
                    <a:pt x="632" y="292"/>
                  </a:lnTo>
                  <a:lnTo>
                    <a:pt x="632" y="298"/>
                  </a:lnTo>
                  <a:lnTo>
                    <a:pt x="632" y="301"/>
                  </a:lnTo>
                  <a:lnTo>
                    <a:pt x="629" y="304"/>
                  </a:lnTo>
                  <a:lnTo>
                    <a:pt x="626" y="304"/>
                  </a:lnTo>
                  <a:lnTo>
                    <a:pt x="623" y="304"/>
                  </a:lnTo>
                  <a:lnTo>
                    <a:pt x="620" y="307"/>
                  </a:lnTo>
                  <a:lnTo>
                    <a:pt x="620" y="309"/>
                  </a:lnTo>
                  <a:lnTo>
                    <a:pt x="617" y="315"/>
                  </a:lnTo>
                  <a:lnTo>
                    <a:pt x="620" y="321"/>
                  </a:lnTo>
                  <a:lnTo>
                    <a:pt x="620" y="324"/>
                  </a:lnTo>
                  <a:lnTo>
                    <a:pt x="617" y="324"/>
                  </a:lnTo>
                  <a:lnTo>
                    <a:pt x="614" y="324"/>
                  </a:lnTo>
                  <a:lnTo>
                    <a:pt x="611" y="324"/>
                  </a:lnTo>
                  <a:lnTo>
                    <a:pt x="608" y="321"/>
                  </a:lnTo>
                  <a:lnTo>
                    <a:pt x="602" y="321"/>
                  </a:lnTo>
                  <a:lnTo>
                    <a:pt x="599" y="318"/>
                  </a:lnTo>
                  <a:lnTo>
                    <a:pt x="597" y="315"/>
                  </a:lnTo>
                  <a:lnTo>
                    <a:pt x="594" y="315"/>
                  </a:lnTo>
                  <a:lnTo>
                    <a:pt x="591" y="315"/>
                  </a:lnTo>
                  <a:lnTo>
                    <a:pt x="585" y="315"/>
                  </a:lnTo>
                  <a:lnTo>
                    <a:pt x="582" y="318"/>
                  </a:lnTo>
                  <a:lnTo>
                    <a:pt x="585" y="321"/>
                  </a:lnTo>
                  <a:lnTo>
                    <a:pt x="588" y="321"/>
                  </a:lnTo>
                  <a:lnTo>
                    <a:pt x="585" y="324"/>
                  </a:lnTo>
                  <a:lnTo>
                    <a:pt x="585" y="327"/>
                  </a:lnTo>
                  <a:lnTo>
                    <a:pt x="582" y="330"/>
                  </a:lnTo>
                  <a:lnTo>
                    <a:pt x="579" y="336"/>
                  </a:lnTo>
                  <a:lnTo>
                    <a:pt x="579" y="339"/>
                  </a:lnTo>
                  <a:lnTo>
                    <a:pt x="576" y="339"/>
                  </a:lnTo>
                  <a:lnTo>
                    <a:pt x="573" y="342"/>
                  </a:lnTo>
                  <a:lnTo>
                    <a:pt x="573" y="345"/>
                  </a:lnTo>
                  <a:lnTo>
                    <a:pt x="570" y="348"/>
                  </a:lnTo>
                  <a:lnTo>
                    <a:pt x="573" y="354"/>
                  </a:lnTo>
                  <a:lnTo>
                    <a:pt x="576" y="354"/>
                  </a:lnTo>
                  <a:lnTo>
                    <a:pt x="579" y="354"/>
                  </a:lnTo>
                  <a:lnTo>
                    <a:pt x="579" y="357"/>
                  </a:lnTo>
                  <a:lnTo>
                    <a:pt x="579" y="360"/>
                  </a:lnTo>
                  <a:lnTo>
                    <a:pt x="585" y="363"/>
                  </a:lnTo>
                  <a:lnTo>
                    <a:pt x="588" y="366"/>
                  </a:lnTo>
                  <a:lnTo>
                    <a:pt x="594" y="369"/>
                  </a:lnTo>
                  <a:lnTo>
                    <a:pt x="591" y="371"/>
                  </a:lnTo>
                  <a:lnTo>
                    <a:pt x="588" y="371"/>
                  </a:lnTo>
                  <a:lnTo>
                    <a:pt x="585" y="371"/>
                  </a:lnTo>
                  <a:lnTo>
                    <a:pt x="582" y="371"/>
                  </a:lnTo>
                  <a:lnTo>
                    <a:pt x="582" y="374"/>
                  </a:lnTo>
                  <a:lnTo>
                    <a:pt x="579" y="374"/>
                  </a:lnTo>
                  <a:lnTo>
                    <a:pt x="579" y="377"/>
                  </a:lnTo>
                  <a:lnTo>
                    <a:pt x="576" y="377"/>
                  </a:lnTo>
                  <a:lnTo>
                    <a:pt x="576" y="380"/>
                  </a:lnTo>
                  <a:lnTo>
                    <a:pt x="576" y="383"/>
                  </a:lnTo>
                  <a:lnTo>
                    <a:pt x="573" y="383"/>
                  </a:lnTo>
                  <a:lnTo>
                    <a:pt x="573" y="386"/>
                  </a:lnTo>
                  <a:lnTo>
                    <a:pt x="570" y="386"/>
                  </a:lnTo>
                  <a:lnTo>
                    <a:pt x="567" y="386"/>
                  </a:lnTo>
                  <a:lnTo>
                    <a:pt x="567" y="389"/>
                  </a:lnTo>
                  <a:lnTo>
                    <a:pt x="564" y="389"/>
                  </a:lnTo>
                  <a:lnTo>
                    <a:pt x="567" y="392"/>
                  </a:lnTo>
                  <a:lnTo>
                    <a:pt x="567" y="395"/>
                  </a:lnTo>
                  <a:lnTo>
                    <a:pt x="564" y="395"/>
                  </a:lnTo>
                  <a:lnTo>
                    <a:pt x="564" y="398"/>
                  </a:lnTo>
                  <a:lnTo>
                    <a:pt x="561" y="398"/>
                  </a:lnTo>
                  <a:lnTo>
                    <a:pt x="558" y="398"/>
                  </a:lnTo>
                  <a:lnTo>
                    <a:pt x="552" y="401"/>
                  </a:lnTo>
                  <a:lnTo>
                    <a:pt x="549" y="404"/>
                  </a:lnTo>
                  <a:lnTo>
                    <a:pt x="546" y="407"/>
                  </a:lnTo>
                  <a:lnTo>
                    <a:pt x="546" y="413"/>
                  </a:lnTo>
                  <a:lnTo>
                    <a:pt x="546" y="416"/>
                  </a:lnTo>
                  <a:lnTo>
                    <a:pt x="543" y="419"/>
                  </a:lnTo>
                  <a:lnTo>
                    <a:pt x="537" y="419"/>
                  </a:lnTo>
                  <a:lnTo>
                    <a:pt x="540" y="422"/>
                  </a:lnTo>
                  <a:lnTo>
                    <a:pt x="546" y="425"/>
                  </a:lnTo>
                  <a:lnTo>
                    <a:pt x="546" y="428"/>
                  </a:lnTo>
                  <a:lnTo>
                    <a:pt x="543" y="428"/>
                  </a:lnTo>
                  <a:lnTo>
                    <a:pt x="540" y="430"/>
                  </a:lnTo>
                  <a:lnTo>
                    <a:pt x="537" y="428"/>
                  </a:lnTo>
                  <a:lnTo>
                    <a:pt x="535" y="433"/>
                  </a:lnTo>
                  <a:lnTo>
                    <a:pt x="529" y="436"/>
                  </a:lnTo>
                  <a:lnTo>
                    <a:pt x="529" y="430"/>
                  </a:lnTo>
                  <a:lnTo>
                    <a:pt x="529" y="428"/>
                  </a:lnTo>
                  <a:lnTo>
                    <a:pt x="526" y="428"/>
                  </a:lnTo>
                  <a:lnTo>
                    <a:pt x="523" y="430"/>
                  </a:lnTo>
                  <a:lnTo>
                    <a:pt x="517" y="425"/>
                  </a:lnTo>
                  <a:lnTo>
                    <a:pt x="520" y="422"/>
                  </a:lnTo>
                  <a:lnTo>
                    <a:pt x="520" y="416"/>
                  </a:lnTo>
                  <a:lnTo>
                    <a:pt x="517" y="416"/>
                  </a:lnTo>
                  <a:lnTo>
                    <a:pt x="511" y="416"/>
                  </a:lnTo>
                  <a:lnTo>
                    <a:pt x="505" y="419"/>
                  </a:lnTo>
                  <a:lnTo>
                    <a:pt x="502" y="425"/>
                  </a:lnTo>
                  <a:lnTo>
                    <a:pt x="499" y="428"/>
                  </a:lnTo>
                  <a:lnTo>
                    <a:pt x="499" y="433"/>
                  </a:lnTo>
                  <a:lnTo>
                    <a:pt x="496" y="433"/>
                  </a:lnTo>
                  <a:lnTo>
                    <a:pt x="493" y="436"/>
                  </a:lnTo>
                  <a:lnTo>
                    <a:pt x="487" y="436"/>
                  </a:lnTo>
                  <a:lnTo>
                    <a:pt x="487" y="442"/>
                  </a:lnTo>
                  <a:lnTo>
                    <a:pt x="481" y="442"/>
                  </a:lnTo>
                  <a:lnTo>
                    <a:pt x="478" y="442"/>
                  </a:lnTo>
                  <a:lnTo>
                    <a:pt x="476" y="439"/>
                  </a:lnTo>
                  <a:lnTo>
                    <a:pt x="470" y="439"/>
                  </a:lnTo>
                  <a:lnTo>
                    <a:pt x="467" y="445"/>
                  </a:lnTo>
                  <a:lnTo>
                    <a:pt x="470" y="448"/>
                  </a:lnTo>
                  <a:lnTo>
                    <a:pt x="470" y="451"/>
                  </a:lnTo>
                  <a:lnTo>
                    <a:pt x="470" y="454"/>
                  </a:lnTo>
                  <a:lnTo>
                    <a:pt x="467" y="460"/>
                  </a:lnTo>
                  <a:lnTo>
                    <a:pt x="467" y="463"/>
                  </a:lnTo>
                  <a:lnTo>
                    <a:pt x="464" y="469"/>
                  </a:lnTo>
                  <a:lnTo>
                    <a:pt x="461" y="472"/>
                  </a:lnTo>
                  <a:lnTo>
                    <a:pt x="455" y="472"/>
                  </a:lnTo>
                  <a:lnTo>
                    <a:pt x="452" y="475"/>
                  </a:lnTo>
                  <a:lnTo>
                    <a:pt x="449" y="472"/>
                  </a:lnTo>
                  <a:lnTo>
                    <a:pt x="443" y="475"/>
                  </a:lnTo>
                  <a:lnTo>
                    <a:pt x="449" y="478"/>
                  </a:lnTo>
                  <a:lnTo>
                    <a:pt x="449" y="481"/>
                  </a:lnTo>
                  <a:lnTo>
                    <a:pt x="443" y="487"/>
                  </a:lnTo>
                  <a:lnTo>
                    <a:pt x="440" y="490"/>
                  </a:lnTo>
                  <a:lnTo>
                    <a:pt x="437" y="484"/>
                  </a:lnTo>
                  <a:lnTo>
                    <a:pt x="431" y="484"/>
                  </a:lnTo>
                  <a:lnTo>
                    <a:pt x="428" y="484"/>
                  </a:lnTo>
                  <a:lnTo>
                    <a:pt x="425" y="481"/>
                  </a:lnTo>
                  <a:lnTo>
                    <a:pt x="422" y="484"/>
                  </a:lnTo>
                  <a:lnTo>
                    <a:pt x="419" y="487"/>
                  </a:lnTo>
                  <a:lnTo>
                    <a:pt x="419" y="490"/>
                  </a:lnTo>
                  <a:lnTo>
                    <a:pt x="416" y="492"/>
                  </a:lnTo>
                  <a:lnTo>
                    <a:pt x="411" y="492"/>
                  </a:lnTo>
                  <a:lnTo>
                    <a:pt x="408" y="498"/>
                  </a:lnTo>
                  <a:lnTo>
                    <a:pt x="402" y="501"/>
                  </a:lnTo>
                  <a:lnTo>
                    <a:pt x="402" y="504"/>
                  </a:lnTo>
                  <a:lnTo>
                    <a:pt x="405" y="507"/>
                  </a:lnTo>
                  <a:lnTo>
                    <a:pt x="402" y="510"/>
                  </a:lnTo>
                  <a:lnTo>
                    <a:pt x="402" y="513"/>
                  </a:lnTo>
                  <a:lnTo>
                    <a:pt x="405" y="516"/>
                  </a:lnTo>
                  <a:lnTo>
                    <a:pt x="405" y="519"/>
                  </a:lnTo>
                  <a:lnTo>
                    <a:pt x="408" y="525"/>
                  </a:lnTo>
                  <a:lnTo>
                    <a:pt x="408" y="528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90" y="525"/>
                  </a:lnTo>
                  <a:lnTo>
                    <a:pt x="387" y="525"/>
                  </a:lnTo>
                  <a:lnTo>
                    <a:pt x="381" y="525"/>
                  </a:lnTo>
                  <a:lnTo>
                    <a:pt x="375" y="522"/>
                  </a:lnTo>
                  <a:lnTo>
                    <a:pt x="375" y="525"/>
                  </a:lnTo>
                  <a:lnTo>
                    <a:pt x="369" y="528"/>
                  </a:lnTo>
                  <a:lnTo>
                    <a:pt x="369" y="525"/>
                  </a:lnTo>
                  <a:lnTo>
                    <a:pt x="366" y="525"/>
                  </a:lnTo>
                  <a:lnTo>
                    <a:pt x="363" y="525"/>
                  </a:lnTo>
                  <a:lnTo>
                    <a:pt x="360" y="525"/>
                  </a:lnTo>
                  <a:lnTo>
                    <a:pt x="357" y="525"/>
                  </a:lnTo>
                  <a:lnTo>
                    <a:pt x="355" y="528"/>
                  </a:lnTo>
                  <a:lnTo>
                    <a:pt x="352" y="528"/>
                  </a:lnTo>
                  <a:lnTo>
                    <a:pt x="352" y="525"/>
                  </a:lnTo>
                  <a:lnTo>
                    <a:pt x="349" y="522"/>
                  </a:lnTo>
                  <a:lnTo>
                    <a:pt x="352" y="519"/>
                  </a:lnTo>
                  <a:lnTo>
                    <a:pt x="349" y="516"/>
                  </a:lnTo>
                  <a:lnTo>
                    <a:pt x="349" y="519"/>
                  </a:lnTo>
                  <a:lnTo>
                    <a:pt x="346" y="519"/>
                  </a:lnTo>
                  <a:lnTo>
                    <a:pt x="346" y="516"/>
                  </a:lnTo>
                  <a:lnTo>
                    <a:pt x="343" y="516"/>
                  </a:lnTo>
                  <a:lnTo>
                    <a:pt x="343" y="519"/>
                  </a:lnTo>
                  <a:lnTo>
                    <a:pt x="340" y="519"/>
                  </a:lnTo>
                  <a:lnTo>
                    <a:pt x="340" y="522"/>
                  </a:lnTo>
                  <a:lnTo>
                    <a:pt x="337" y="522"/>
                  </a:lnTo>
                  <a:lnTo>
                    <a:pt x="337" y="519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1" y="516"/>
                  </a:lnTo>
                  <a:lnTo>
                    <a:pt x="328" y="516"/>
                  </a:lnTo>
                  <a:lnTo>
                    <a:pt x="325" y="516"/>
                  </a:lnTo>
                  <a:lnTo>
                    <a:pt x="325" y="513"/>
                  </a:lnTo>
                  <a:lnTo>
                    <a:pt x="325" y="510"/>
                  </a:lnTo>
                  <a:lnTo>
                    <a:pt x="322" y="510"/>
                  </a:lnTo>
                  <a:lnTo>
                    <a:pt x="319" y="513"/>
                  </a:lnTo>
                  <a:lnTo>
                    <a:pt x="316" y="516"/>
                  </a:lnTo>
                  <a:lnTo>
                    <a:pt x="316" y="519"/>
                  </a:lnTo>
                  <a:lnTo>
                    <a:pt x="316" y="522"/>
                  </a:lnTo>
                  <a:lnTo>
                    <a:pt x="316" y="525"/>
                  </a:lnTo>
                  <a:lnTo>
                    <a:pt x="319" y="528"/>
                  </a:lnTo>
                  <a:lnTo>
                    <a:pt x="322" y="531"/>
                  </a:lnTo>
                  <a:lnTo>
                    <a:pt x="322" y="537"/>
                  </a:lnTo>
                  <a:lnTo>
                    <a:pt x="322" y="540"/>
                  </a:lnTo>
                  <a:lnTo>
                    <a:pt x="319" y="543"/>
                  </a:lnTo>
                  <a:lnTo>
                    <a:pt x="319" y="546"/>
                  </a:lnTo>
                  <a:lnTo>
                    <a:pt x="322" y="549"/>
                  </a:lnTo>
                  <a:lnTo>
                    <a:pt x="322" y="551"/>
                  </a:lnTo>
                  <a:lnTo>
                    <a:pt x="319" y="554"/>
                  </a:lnTo>
                  <a:lnTo>
                    <a:pt x="319" y="563"/>
                  </a:lnTo>
                  <a:lnTo>
                    <a:pt x="313" y="560"/>
                  </a:lnTo>
                  <a:lnTo>
                    <a:pt x="310" y="563"/>
                  </a:lnTo>
                  <a:lnTo>
                    <a:pt x="307" y="563"/>
                  </a:lnTo>
                  <a:lnTo>
                    <a:pt x="301" y="566"/>
                  </a:lnTo>
                  <a:lnTo>
                    <a:pt x="298" y="563"/>
                  </a:lnTo>
                  <a:lnTo>
                    <a:pt x="293" y="563"/>
                  </a:lnTo>
                  <a:lnTo>
                    <a:pt x="290" y="560"/>
                  </a:lnTo>
                  <a:lnTo>
                    <a:pt x="284" y="563"/>
                  </a:lnTo>
                  <a:lnTo>
                    <a:pt x="281" y="563"/>
                  </a:lnTo>
                  <a:lnTo>
                    <a:pt x="275" y="563"/>
                  </a:lnTo>
                  <a:lnTo>
                    <a:pt x="275" y="569"/>
                  </a:lnTo>
                  <a:lnTo>
                    <a:pt x="266" y="575"/>
                  </a:lnTo>
                  <a:lnTo>
                    <a:pt x="263" y="572"/>
                  </a:lnTo>
                  <a:lnTo>
                    <a:pt x="257" y="569"/>
                  </a:lnTo>
                  <a:lnTo>
                    <a:pt x="254" y="563"/>
                  </a:lnTo>
                  <a:lnTo>
                    <a:pt x="251" y="563"/>
                  </a:lnTo>
                  <a:lnTo>
                    <a:pt x="245" y="560"/>
                  </a:lnTo>
                  <a:lnTo>
                    <a:pt x="245" y="563"/>
                  </a:lnTo>
                  <a:lnTo>
                    <a:pt x="239" y="566"/>
                  </a:lnTo>
                  <a:lnTo>
                    <a:pt x="236" y="569"/>
                  </a:lnTo>
                  <a:lnTo>
                    <a:pt x="231" y="569"/>
                  </a:lnTo>
                  <a:lnTo>
                    <a:pt x="231" y="572"/>
                  </a:lnTo>
                  <a:lnTo>
                    <a:pt x="231" y="575"/>
                  </a:lnTo>
                  <a:lnTo>
                    <a:pt x="234" y="581"/>
                  </a:lnTo>
                  <a:lnTo>
                    <a:pt x="228" y="581"/>
                  </a:lnTo>
                  <a:lnTo>
                    <a:pt x="225" y="581"/>
                  </a:lnTo>
                  <a:lnTo>
                    <a:pt x="222" y="581"/>
                  </a:lnTo>
                  <a:lnTo>
                    <a:pt x="216" y="581"/>
                  </a:lnTo>
                  <a:lnTo>
                    <a:pt x="213" y="584"/>
                  </a:lnTo>
                  <a:lnTo>
                    <a:pt x="210" y="587"/>
                  </a:lnTo>
                  <a:lnTo>
                    <a:pt x="207" y="587"/>
                  </a:lnTo>
                  <a:lnTo>
                    <a:pt x="204" y="590"/>
                  </a:lnTo>
                  <a:lnTo>
                    <a:pt x="207" y="593"/>
                  </a:lnTo>
                  <a:lnTo>
                    <a:pt x="207" y="596"/>
                  </a:lnTo>
                  <a:lnTo>
                    <a:pt x="201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596"/>
                  </a:lnTo>
                  <a:lnTo>
                    <a:pt x="189" y="593"/>
                  </a:lnTo>
                  <a:lnTo>
                    <a:pt x="180" y="590"/>
                  </a:lnTo>
                  <a:lnTo>
                    <a:pt x="177" y="596"/>
                  </a:lnTo>
                  <a:lnTo>
                    <a:pt x="174" y="599"/>
                  </a:lnTo>
                  <a:lnTo>
                    <a:pt x="172" y="602"/>
                  </a:lnTo>
                  <a:lnTo>
                    <a:pt x="169" y="599"/>
                  </a:lnTo>
                  <a:lnTo>
                    <a:pt x="166" y="599"/>
                  </a:lnTo>
                  <a:lnTo>
                    <a:pt x="163" y="602"/>
                  </a:lnTo>
                  <a:lnTo>
                    <a:pt x="157" y="599"/>
                  </a:lnTo>
                  <a:lnTo>
                    <a:pt x="157" y="602"/>
                  </a:lnTo>
                  <a:lnTo>
                    <a:pt x="154" y="608"/>
                  </a:lnTo>
                  <a:lnTo>
                    <a:pt x="157" y="608"/>
                  </a:lnTo>
                  <a:lnTo>
                    <a:pt x="160" y="608"/>
                  </a:lnTo>
                  <a:lnTo>
                    <a:pt x="160" y="610"/>
                  </a:lnTo>
                  <a:lnTo>
                    <a:pt x="163" y="613"/>
                  </a:lnTo>
                  <a:lnTo>
                    <a:pt x="169" y="616"/>
                  </a:lnTo>
                  <a:lnTo>
                    <a:pt x="166" y="619"/>
                  </a:lnTo>
                  <a:lnTo>
                    <a:pt x="163" y="619"/>
                  </a:lnTo>
                  <a:lnTo>
                    <a:pt x="163" y="622"/>
                  </a:lnTo>
                  <a:lnTo>
                    <a:pt x="163" y="625"/>
                  </a:lnTo>
                  <a:lnTo>
                    <a:pt x="160" y="628"/>
                  </a:lnTo>
                  <a:lnTo>
                    <a:pt x="163" y="628"/>
                  </a:lnTo>
                  <a:lnTo>
                    <a:pt x="166" y="628"/>
                  </a:lnTo>
                  <a:lnTo>
                    <a:pt x="172" y="631"/>
                  </a:lnTo>
                  <a:lnTo>
                    <a:pt x="174" y="631"/>
                  </a:lnTo>
                  <a:lnTo>
                    <a:pt x="177" y="634"/>
                  </a:lnTo>
                  <a:lnTo>
                    <a:pt x="180" y="643"/>
                  </a:lnTo>
                  <a:lnTo>
                    <a:pt x="177" y="646"/>
                  </a:lnTo>
                  <a:lnTo>
                    <a:pt x="177" y="652"/>
                  </a:lnTo>
                  <a:lnTo>
                    <a:pt x="174" y="649"/>
                  </a:lnTo>
                  <a:lnTo>
                    <a:pt x="172" y="649"/>
                  </a:lnTo>
                  <a:lnTo>
                    <a:pt x="166" y="652"/>
                  </a:lnTo>
                  <a:lnTo>
                    <a:pt x="169" y="652"/>
                  </a:lnTo>
                  <a:lnTo>
                    <a:pt x="172" y="655"/>
                  </a:lnTo>
                  <a:lnTo>
                    <a:pt x="172" y="661"/>
                  </a:lnTo>
                  <a:lnTo>
                    <a:pt x="169" y="664"/>
                  </a:lnTo>
                  <a:lnTo>
                    <a:pt x="166" y="670"/>
                  </a:lnTo>
                  <a:lnTo>
                    <a:pt x="163" y="672"/>
                  </a:lnTo>
                  <a:lnTo>
                    <a:pt x="166" y="675"/>
                  </a:lnTo>
                  <a:lnTo>
                    <a:pt x="163" y="678"/>
                  </a:lnTo>
                  <a:lnTo>
                    <a:pt x="163" y="681"/>
                  </a:lnTo>
                  <a:lnTo>
                    <a:pt x="157" y="687"/>
                  </a:lnTo>
                  <a:lnTo>
                    <a:pt x="151" y="687"/>
                  </a:lnTo>
                  <a:lnTo>
                    <a:pt x="148" y="687"/>
                  </a:lnTo>
                  <a:lnTo>
                    <a:pt x="148" y="684"/>
                  </a:lnTo>
                  <a:lnTo>
                    <a:pt x="145" y="681"/>
                  </a:lnTo>
                  <a:lnTo>
                    <a:pt x="139" y="684"/>
                  </a:lnTo>
                  <a:lnTo>
                    <a:pt x="136" y="687"/>
                  </a:lnTo>
                  <a:lnTo>
                    <a:pt x="133" y="690"/>
                  </a:lnTo>
                  <a:lnTo>
                    <a:pt x="133" y="693"/>
                  </a:lnTo>
                  <a:lnTo>
                    <a:pt x="133" y="696"/>
                  </a:lnTo>
                  <a:lnTo>
                    <a:pt x="130" y="696"/>
                  </a:lnTo>
                  <a:lnTo>
                    <a:pt x="127" y="696"/>
                  </a:lnTo>
                  <a:lnTo>
                    <a:pt x="127" y="699"/>
                  </a:lnTo>
                  <a:lnTo>
                    <a:pt x="121" y="699"/>
                  </a:lnTo>
                  <a:lnTo>
                    <a:pt x="118" y="699"/>
                  </a:lnTo>
                  <a:lnTo>
                    <a:pt x="113" y="699"/>
                  </a:lnTo>
                  <a:lnTo>
                    <a:pt x="113" y="693"/>
                  </a:lnTo>
                  <a:lnTo>
                    <a:pt x="110" y="687"/>
                  </a:lnTo>
                  <a:lnTo>
                    <a:pt x="110" y="684"/>
                  </a:lnTo>
                  <a:lnTo>
                    <a:pt x="104" y="684"/>
                  </a:lnTo>
                  <a:lnTo>
                    <a:pt x="104" y="681"/>
                  </a:lnTo>
                  <a:lnTo>
                    <a:pt x="101" y="678"/>
                  </a:lnTo>
                  <a:lnTo>
                    <a:pt x="101" y="681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83" y="68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3" name="Freeform 12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8147399" y="1515024"/>
              <a:ext cx="111198" cy="94239"/>
            </a:xfrm>
            <a:custGeom>
              <a:avLst/>
              <a:gdLst>
                <a:gd name="T0" fmla="*/ 124 w 673"/>
                <a:gd name="T1" fmla="*/ 319 h 531"/>
                <a:gd name="T2" fmla="*/ 85 w 673"/>
                <a:gd name="T3" fmla="*/ 218 h 531"/>
                <a:gd name="T4" fmla="*/ 97 w 673"/>
                <a:gd name="T5" fmla="*/ 245 h 531"/>
                <a:gd name="T6" fmla="*/ 150 w 673"/>
                <a:gd name="T7" fmla="*/ 233 h 531"/>
                <a:gd name="T8" fmla="*/ 203 w 673"/>
                <a:gd name="T9" fmla="*/ 221 h 531"/>
                <a:gd name="T10" fmla="*/ 233 w 673"/>
                <a:gd name="T11" fmla="*/ 183 h 531"/>
                <a:gd name="T12" fmla="*/ 174 w 673"/>
                <a:gd name="T13" fmla="*/ 189 h 531"/>
                <a:gd name="T14" fmla="*/ 65 w 673"/>
                <a:gd name="T15" fmla="*/ 159 h 531"/>
                <a:gd name="T16" fmla="*/ 29 w 673"/>
                <a:gd name="T17" fmla="*/ 118 h 531"/>
                <a:gd name="T18" fmla="*/ 35 w 673"/>
                <a:gd name="T19" fmla="*/ 86 h 531"/>
                <a:gd name="T20" fmla="*/ 32 w 673"/>
                <a:gd name="T21" fmla="*/ 77 h 531"/>
                <a:gd name="T22" fmla="*/ 9 w 673"/>
                <a:gd name="T23" fmla="*/ 83 h 531"/>
                <a:gd name="T24" fmla="*/ 26 w 673"/>
                <a:gd name="T25" fmla="*/ 47 h 531"/>
                <a:gd name="T26" fmla="*/ 76 w 673"/>
                <a:gd name="T27" fmla="*/ 15 h 531"/>
                <a:gd name="T28" fmla="*/ 94 w 673"/>
                <a:gd name="T29" fmla="*/ 18 h 531"/>
                <a:gd name="T30" fmla="*/ 124 w 673"/>
                <a:gd name="T31" fmla="*/ 27 h 531"/>
                <a:gd name="T32" fmla="*/ 159 w 673"/>
                <a:gd name="T33" fmla="*/ 30 h 531"/>
                <a:gd name="T34" fmla="*/ 195 w 673"/>
                <a:gd name="T35" fmla="*/ 44 h 531"/>
                <a:gd name="T36" fmla="*/ 233 w 673"/>
                <a:gd name="T37" fmla="*/ 33 h 531"/>
                <a:gd name="T38" fmla="*/ 265 w 673"/>
                <a:gd name="T39" fmla="*/ 33 h 531"/>
                <a:gd name="T40" fmla="*/ 292 w 673"/>
                <a:gd name="T41" fmla="*/ 50 h 531"/>
                <a:gd name="T42" fmla="*/ 316 w 673"/>
                <a:gd name="T43" fmla="*/ 36 h 531"/>
                <a:gd name="T44" fmla="*/ 316 w 673"/>
                <a:gd name="T45" fmla="*/ 15 h 531"/>
                <a:gd name="T46" fmla="*/ 366 w 673"/>
                <a:gd name="T47" fmla="*/ 6 h 531"/>
                <a:gd name="T48" fmla="*/ 413 w 673"/>
                <a:gd name="T49" fmla="*/ 15 h 531"/>
                <a:gd name="T50" fmla="*/ 448 w 673"/>
                <a:gd name="T51" fmla="*/ 24 h 531"/>
                <a:gd name="T52" fmla="*/ 475 w 673"/>
                <a:gd name="T53" fmla="*/ 36 h 531"/>
                <a:gd name="T54" fmla="*/ 522 w 673"/>
                <a:gd name="T55" fmla="*/ 53 h 531"/>
                <a:gd name="T56" fmla="*/ 534 w 673"/>
                <a:gd name="T57" fmla="*/ 74 h 531"/>
                <a:gd name="T58" fmla="*/ 563 w 673"/>
                <a:gd name="T59" fmla="*/ 95 h 531"/>
                <a:gd name="T60" fmla="*/ 572 w 673"/>
                <a:gd name="T61" fmla="*/ 139 h 531"/>
                <a:gd name="T62" fmla="*/ 602 w 673"/>
                <a:gd name="T63" fmla="*/ 162 h 531"/>
                <a:gd name="T64" fmla="*/ 631 w 673"/>
                <a:gd name="T65" fmla="*/ 183 h 531"/>
                <a:gd name="T66" fmla="*/ 655 w 673"/>
                <a:gd name="T67" fmla="*/ 224 h 531"/>
                <a:gd name="T68" fmla="*/ 625 w 673"/>
                <a:gd name="T69" fmla="*/ 269 h 531"/>
                <a:gd name="T70" fmla="*/ 625 w 673"/>
                <a:gd name="T71" fmla="*/ 286 h 531"/>
                <a:gd name="T72" fmla="*/ 622 w 673"/>
                <a:gd name="T73" fmla="*/ 334 h 531"/>
                <a:gd name="T74" fmla="*/ 596 w 673"/>
                <a:gd name="T75" fmla="*/ 354 h 531"/>
                <a:gd name="T76" fmla="*/ 611 w 673"/>
                <a:gd name="T77" fmla="*/ 378 h 531"/>
                <a:gd name="T78" fmla="*/ 619 w 673"/>
                <a:gd name="T79" fmla="*/ 390 h 531"/>
                <a:gd name="T80" fmla="*/ 584 w 673"/>
                <a:gd name="T81" fmla="*/ 416 h 531"/>
                <a:gd name="T82" fmla="*/ 584 w 673"/>
                <a:gd name="T83" fmla="*/ 431 h 531"/>
                <a:gd name="T84" fmla="*/ 590 w 673"/>
                <a:gd name="T85" fmla="*/ 472 h 531"/>
                <a:gd name="T86" fmla="*/ 558 w 673"/>
                <a:gd name="T87" fmla="*/ 475 h 531"/>
                <a:gd name="T88" fmla="*/ 531 w 673"/>
                <a:gd name="T89" fmla="*/ 505 h 531"/>
                <a:gd name="T90" fmla="*/ 510 w 673"/>
                <a:gd name="T91" fmla="*/ 522 h 531"/>
                <a:gd name="T92" fmla="*/ 498 w 673"/>
                <a:gd name="T93" fmla="*/ 508 h 531"/>
                <a:gd name="T94" fmla="*/ 469 w 673"/>
                <a:gd name="T95" fmla="*/ 522 h 531"/>
                <a:gd name="T96" fmla="*/ 469 w 673"/>
                <a:gd name="T97" fmla="*/ 499 h 531"/>
                <a:gd name="T98" fmla="*/ 478 w 673"/>
                <a:gd name="T99" fmla="*/ 466 h 531"/>
                <a:gd name="T100" fmla="*/ 469 w 673"/>
                <a:gd name="T101" fmla="*/ 419 h 531"/>
                <a:gd name="T102" fmla="*/ 457 w 673"/>
                <a:gd name="T103" fmla="*/ 398 h 531"/>
                <a:gd name="T104" fmla="*/ 463 w 673"/>
                <a:gd name="T105" fmla="*/ 378 h 531"/>
                <a:gd name="T106" fmla="*/ 466 w 673"/>
                <a:gd name="T107" fmla="*/ 348 h 531"/>
                <a:gd name="T108" fmla="*/ 451 w 673"/>
                <a:gd name="T109" fmla="*/ 325 h 531"/>
                <a:gd name="T110" fmla="*/ 454 w 673"/>
                <a:gd name="T111" fmla="*/ 295 h 531"/>
                <a:gd name="T112" fmla="*/ 442 w 673"/>
                <a:gd name="T113" fmla="*/ 275 h 531"/>
                <a:gd name="T114" fmla="*/ 425 w 673"/>
                <a:gd name="T115" fmla="*/ 339 h 531"/>
                <a:gd name="T116" fmla="*/ 380 w 673"/>
                <a:gd name="T117" fmla="*/ 404 h 531"/>
                <a:gd name="T118" fmla="*/ 316 w 673"/>
                <a:gd name="T119" fmla="*/ 428 h 531"/>
                <a:gd name="T120" fmla="*/ 259 w 673"/>
                <a:gd name="T121" fmla="*/ 437 h 531"/>
                <a:gd name="T122" fmla="*/ 254 w 673"/>
                <a:gd name="T123" fmla="*/ 407 h 5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"/>
                <a:gd name="T187" fmla="*/ 0 h 531"/>
                <a:gd name="T188" fmla="*/ 673 w 673"/>
                <a:gd name="T189" fmla="*/ 531 h 5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" h="531">
                  <a:moveTo>
                    <a:pt x="230" y="431"/>
                  </a:moveTo>
                  <a:lnTo>
                    <a:pt x="224" y="428"/>
                  </a:lnTo>
                  <a:lnTo>
                    <a:pt x="227" y="425"/>
                  </a:lnTo>
                  <a:lnTo>
                    <a:pt x="218" y="425"/>
                  </a:lnTo>
                  <a:lnTo>
                    <a:pt x="209" y="419"/>
                  </a:lnTo>
                  <a:lnTo>
                    <a:pt x="200" y="407"/>
                  </a:lnTo>
                  <a:lnTo>
                    <a:pt x="183" y="393"/>
                  </a:lnTo>
                  <a:lnTo>
                    <a:pt x="171" y="378"/>
                  </a:lnTo>
                  <a:lnTo>
                    <a:pt x="156" y="363"/>
                  </a:lnTo>
                  <a:lnTo>
                    <a:pt x="138" y="334"/>
                  </a:lnTo>
                  <a:lnTo>
                    <a:pt x="133" y="331"/>
                  </a:lnTo>
                  <a:lnTo>
                    <a:pt x="124" y="319"/>
                  </a:lnTo>
                  <a:lnTo>
                    <a:pt x="115" y="307"/>
                  </a:lnTo>
                  <a:lnTo>
                    <a:pt x="103" y="295"/>
                  </a:lnTo>
                  <a:lnTo>
                    <a:pt x="97" y="289"/>
                  </a:lnTo>
                  <a:lnTo>
                    <a:pt x="91" y="280"/>
                  </a:lnTo>
                  <a:lnTo>
                    <a:pt x="79" y="263"/>
                  </a:lnTo>
                  <a:lnTo>
                    <a:pt x="71" y="251"/>
                  </a:lnTo>
                  <a:lnTo>
                    <a:pt x="68" y="242"/>
                  </a:lnTo>
                  <a:lnTo>
                    <a:pt x="68" y="236"/>
                  </a:lnTo>
                  <a:lnTo>
                    <a:pt x="71" y="233"/>
                  </a:lnTo>
                  <a:lnTo>
                    <a:pt x="76" y="221"/>
                  </a:lnTo>
                  <a:lnTo>
                    <a:pt x="79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2" y="224"/>
                  </a:lnTo>
                  <a:lnTo>
                    <a:pt x="82" y="227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27"/>
                  </a:lnTo>
                  <a:lnTo>
                    <a:pt x="94" y="227"/>
                  </a:lnTo>
                  <a:lnTo>
                    <a:pt x="97" y="230"/>
                  </a:lnTo>
                  <a:lnTo>
                    <a:pt x="94" y="233"/>
                  </a:lnTo>
                  <a:lnTo>
                    <a:pt x="91" y="236"/>
                  </a:lnTo>
                  <a:lnTo>
                    <a:pt x="91" y="242"/>
                  </a:lnTo>
                  <a:lnTo>
                    <a:pt x="97" y="245"/>
                  </a:lnTo>
                  <a:lnTo>
                    <a:pt x="103" y="245"/>
                  </a:lnTo>
                  <a:lnTo>
                    <a:pt x="109" y="242"/>
                  </a:lnTo>
                  <a:lnTo>
                    <a:pt x="112" y="239"/>
                  </a:lnTo>
                  <a:lnTo>
                    <a:pt x="115" y="239"/>
                  </a:lnTo>
                  <a:lnTo>
                    <a:pt x="118" y="239"/>
                  </a:lnTo>
                  <a:lnTo>
                    <a:pt x="124" y="239"/>
                  </a:lnTo>
                  <a:lnTo>
                    <a:pt x="130" y="236"/>
                  </a:lnTo>
                  <a:lnTo>
                    <a:pt x="130" y="230"/>
                  </a:lnTo>
                  <a:lnTo>
                    <a:pt x="133" y="236"/>
                  </a:lnTo>
                  <a:lnTo>
                    <a:pt x="138" y="239"/>
                  </a:lnTo>
                  <a:lnTo>
                    <a:pt x="144" y="236"/>
                  </a:lnTo>
                  <a:lnTo>
                    <a:pt x="150" y="233"/>
                  </a:lnTo>
                  <a:lnTo>
                    <a:pt x="150" y="230"/>
                  </a:lnTo>
                  <a:lnTo>
                    <a:pt x="153" y="230"/>
                  </a:lnTo>
                  <a:lnTo>
                    <a:pt x="156" y="233"/>
                  </a:lnTo>
                  <a:lnTo>
                    <a:pt x="159" y="236"/>
                  </a:lnTo>
                  <a:lnTo>
                    <a:pt x="162" y="233"/>
                  </a:lnTo>
                  <a:lnTo>
                    <a:pt x="168" y="233"/>
                  </a:lnTo>
                  <a:lnTo>
                    <a:pt x="174" y="230"/>
                  </a:lnTo>
                  <a:lnTo>
                    <a:pt x="177" y="227"/>
                  </a:lnTo>
                  <a:lnTo>
                    <a:pt x="183" y="227"/>
                  </a:lnTo>
                  <a:lnTo>
                    <a:pt x="186" y="224"/>
                  </a:lnTo>
                  <a:lnTo>
                    <a:pt x="195" y="227"/>
                  </a:lnTo>
                  <a:lnTo>
                    <a:pt x="203" y="221"/>
                  </a:lnTo>
                  <a:lnTo>
                    <a:pt x="206" y="218"/>
                  </a:lnTo>
                  <a:lnTo>
                    <a:pt x="215" y="207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3" y="189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9" y="177"/>
                  </a:lnTo>
                  <a:lnTo>
                    <a:pt x="242" y="174"/>
                  </a:lnTo>
                  <a:lnTo>
                    <a:pt x="239" y="174"/>
                  </a:lnTo>
                  <a:lnTo>
                    <a:pt x="236" y="177"/>
                  </a:lnTo>
                  <a:lnTo>
                    <a:pt x="233" y="183"/>
                  </a:lnTo>
                  <a:lnTo>
                    <a:pt x="230" y="186"/>
                  </a:lnTo>
                  <a:lnTo>
                    <a:pt x="221" y="189"/>
                  </a:lnTo>
                  <a:lnTo>
                    <a:pt x="218" y="186"/>
                  </a:lnTo>
                  <a:lnTo>
                    <a:pt x="215" y="186"/>
                  </a:lnTo>
                  <a:lnTo>
                    <a:pt x="215" y="180"/>
                  </a:lnTo>
                  <a:lnTo>
                    <a:pt x="218" y="174"/>
                  </a:lnTo>
                  <a:lnTo>
                    <a:pt x="212" y="183"/>
                  </a:lnTo>
                  <a:lnTo>
                    <a:pt x="209" y="186"/>
                  </a:lnTo>
                  <a:lnTo>
                    <a:pt x="203" y="186"/>
                  </a:lnTo>
                  <a:lnTo>
                    <a:pt x="197" y="189"/>
                  </a:lnTo>
                  <a:lnTo>
                    <a:pt x="186" y="189"/>
                  </a:lnTo>
                  <a:lnTo>
                    <a:pt x="174" y="189"/>
                  </a:lnTo>
                  <a:lnTo>
                    <a:pt x="165" y="192"/>
                  </a:lnTo>
                  <a:lnTo>
                    <a:pt x="162" y="195"/>
                  </a:lnTo>
                  <a:lnTo>
                    <a:pt x="159" y="198"/>
                  </a:lnTo>
                  <a:lnTo>
                    <a:pt x="147" y="198"/>
                  </a:lnTo>
                  <a:lnTo>
                    <a:pt x="138" y="195"/>
                  </a:lnTo>
                  <a:lnTo>
                    <a:pt x="127" y="192"/>
                  </a:lnTo>
                  <a:lnTo>
                    <a:pt x="121" y="189"/>
                  </a:lnTo>
                  <a:lnTo>
                    <a:pt x="112" y="186"/>
                  </a:lnTo>
                  <a:lnTo>
                    <a:pt x="97" y="180"/>
                  </a:lnTo>
                  <a:lnTo>
                    <a:pt x="88" y="177"/>
                  </a:lnTo>
                  <a:lnTo>
                    <a:pt x="74" y="165"/>
                  </a:lnTo>
                  <a:lnTo>
                    <a:pt x="65" y="159"/>
                  </a:lnTo>
                  <a:lnTo>
                    <a:pt x="41" y="136"/>
                  </a:lnTo>
                  <a:lnTo>
                    <a:pt x="38" y="127"/>
                  </a:lnTo>
                  <a:lnTo>
                    <a:pt x="41" y="127"/>
                  </a:lnTo>
                  <a:lnTo>
                    <a:pt x="41" y="121"/>
                  </a:lnTo>
                  <a:lnTo>
                    <a:pt x="35" y="124"/>
                  </a:lnTo>
                  <a:lnTo>
                    <a:pt x="35" y="121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09"/>
                  </a:lnTo>
                  <a:lnTo>
                    <a:pt x="32" y="109"/>
                  </a:lnTo>
                  <a:lnTo>
                    <a:pt x="32" y="115"/>
                  </a:lnTo>
                  <a:lnTo>
                    <a:pt x="29" y="118"/>
                  </a:lnTo>
                  <a:lnTo>
                    <a:pt x="26" y="115"/>
                  </a:lnTo>
                  <a:lnTo>
                    <a:pt x="23" y="112"/>
                  </a:lnTo>
                  <a:lnTo>
                    <a:pt x="23" y="109"/>
                  </a:lnTo>
                  <a:lnTo>
                    <a:pt x="26" y="103"/>
                  </a:lnTo>
                  <a:lnTo>
                    <a:pt x="29" y="100"/>
                  </a:lnTo>
                  <a:lnTo>
                    <a:pt x="29" y="95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6" y="92"/>
                  </a:lnTo>
                  <a:lnTo>
                    <a:pt x="29" y="89"/>
                  </a:lnTo>
                  <a:lnTo>
                    <a:pt x="35" y="86"/>
                  </a:lnTo>
                  <a:lnTo>
                    <a:pt x="41" y="83"/>
                  </a:lnTo>
                  <a:lnTo>
                    <a:pt x="50" y="77"/>
                  </a:lnTo>
                  <a:lnTo>
                    <a:pt x="56" y="74"/>
                  </a:lnTo>
                  <a:lnTo>
                    <a:pt x="62" y="71"/>
                  </a:lnTo>
                  <a:lnTo>
                    <a:pt x="68" y="7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59" y="68"/>
                  </a:lnTo>
                  <a:lnTo>
                    <a:pt x="53" y="71"/>
                  </a:lnTo>
                  <a:lnTo>
                    <a:pt x="50" y="74"/>
                  </a:lnTo>
                  <a:lnTo>
                    <a:pt x="44" y="77"/>
                  </a:lnTo>
                  <a:lnTo>
                    <a:pt x="32" y="77"/>
                  </a:lnTo>
                  <a:lnTo>
                    <a:pt x="26" y="83"/>
                  </a:lnTo>
                  <a:lnTo>
                    <a:pt x="23" y="89"/>
                  </a:lnTo>
                  <a:lnTo>
                    <a:pt x="14" y="92"/>
                  </a:lnTo>
                  <a:lnTo>
                    <a:pt x="3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3"/>
                  </a:lnTo>
                  <a:lnTo>
                    <a:pt x="6" y="83"/>
                  </a:lnTo>
                  <a:lnTo>
                    <a:pt x="9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3" y="80"/>
                  </a:lnTo>
                  <a:lnTo>
                    <a:pt x="6" y="71"/>
                  </a:lnTo>
                  <a:lnTo>
                    <a:pt x="9" y="62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7" y="50"/>
                  </a:lnTo>
                  <a:lnTo>
                    <a:pt x="20" y="50"/>
                  </a:lnTo>
                  <a:lnTo>
                    <a:pt x="23" y="50"/>
                  </a:lnTo>
                  <a:lnTo>
                    <a:pt x="23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7"/>
                  </a:lnTo>
                  <a:lnTo>
                    <a:pt x="68" y="53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38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6" y="18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82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91" y="18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4" y="24"/>
                  </a:lnTo>
                  <a:lnTo>
                    <a:pt x="97" y="27"/>
                  </a:lnTo>
                  <a:lnTo>
                    <a:pt x="100" y="27"/>
                  </a:lnTo>
                  <a:lnTo>
                    <a:pt x="103" y="27"/>
                  </a:lnTo>
                  <a:lnTo>
                    <a:pt x="106" y="24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18" y="27"/>
                  </a:lnTo>
                  <a:lnTo>
                    <a:pt x="121" y="30"/>
                  </a:lnTo>
                  <a:lnTo>
                    <a:pt x="124" y="27"/>
                  </a:lnTo>
                  <a:lnTo>
                    <a:pt x="127" y="27"/>
                  </a:lnTo>
                  <a:lnTo>
                    <a:pt x="130" y="27"/>
                  </a:lnTo>
                  <a:lnTo>
                    <a:pt x="133" y="27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6" y="30"/>
                  </a:lnTo>
                  <a:lnTo>
                    <a:pt x="159" y="30"/>
                  </a:lnTo>
                  <a:lnTo>
                    <a:pt x="162" y="27"/>
                  </a:lnTo>
                  <a:lnTo>
                    <a:pt x="165" y="30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4" y="38"/>
                  </a:lnTo>
                  <a:lnTo>
                    <a:pt x="174" y="41"/>
                  </a:lnTo>
                  <a:lnTo>
                    <a:pt x="177" y="41"/>
                  </a:lnTo>
                  <a:lnTo>
                    <a:pt x="180" y="41"/>
                  </a:lnTo>
                  <a:lnTo>
                    <a:pt x="186" y="44"/>
                  </a:lnTo>
                  <a:lnTo>
                    <a:pt x="189" y="44"/>
                  </a:lnTo>
                  <a:lnTo>
                    <a:pt x="192" y="44"/>
                  </a:lnTo>
                  <a:lnTo>
                    <a:pt x="195" y="44"/>
                  </a:lnTo>
                  <a:lnTo>
                    <a:pt x="203" y="47"/>
                  </a:lnTo>
                  <a:lnTo>
                    <a:pt x="206" y="47"/>
                  </a:lnTo>
                  <a:lnTo>
                    <a:pt x="209" y="44"/>
                  </a:lnTo>
                  <a:lnTo>
                    <a:pt x="212" y="44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8" y="36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7" y="33"/>
                  </a:lnTo>
                  <a:lnTo>
                    <a:pt x="230" y="33"/>
                  </a:lnTo>
                  <a:lnTo>
                    <a:pt x="233" y="33"/>
                  </a:lnTo>
                  <a:lnTo>
                    <a:pt x="236" y="30"/>
                  </a:lnTo>
                  <a:lnTo>
                    <a:pt x="239" y="30"/>
                  </a:lnTo>
                  <a:lnTo>
                    <a:pt x="242" y="30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65" y="24"/>
                  </a:lnTo>
                  <a:lnTo>
                    <a:pt x="268" y="24"/>
                  </a:lnTo>
                  <a:lnTo>
                    <a:pt x="271" y="27"/>
                  </a:lnTo>
                  <a:lnTo>
                    <a:pt x="268" y="30"/>
                  </a:lnTo>
                  <a:lnTo>
                    <a:pt x="265" y="33"/>
                  </a:lnTo>
                  <a:lnTo>
                    <a:pt x="268" y="36"/>
                  </a:lnTo>
                  <a:lnTo>
                    <a:pt x="268" y="38"/>
                  </a:lnTo>
                  <a:lnTo>
                    <a:pt x="268" y="41"/>
                  </a:lnTo>
                  <a:lnTo>
                    <a:pt x="265" y="41"/>
                  </a:lnTo>
                  <a:lnTo>
                    <a:pt x="268" y="44"/>
                  </a:lnTo>
                  <a:lnTo>
                    <a:pt x="271" y="44"/>
                  </a:lnTo>
                  <a:lnTo>
                    <a:pt x="274" y="47"/>
                  </a:lnTo>
                  <a:lnTo>
                    <a:pt x="280" y="47"/>
                  </a:lnTo>
                  <a:lnTo>
                    <a:pt x="283" y="47"/>
                  </a:lnTo>
                  <a:lnTo>
                    <a:pt x="286" y="50"/>
                  </a:lnTo>
                  <a:lnTo>
                    <a:pt x="289" y="50"/>
                  </a:lnTo>
                  <a:lnTo>
                    <a:pt x="292" y="50"/>
                  </a:lnTo>
                  <a:lnTo>
                    <a:pt x="295" y="47"/>
                  </a:lnTo>
                  <a:lnTo>
                    <a:pt x="298" y="47"/>
                  </a:lnTo>
                  <a:lnTo>
                    <a:pt x="301" y="47"/>
                  </a:lnTo>
                  <a:lnTo>
                    <a:pt x="301" y="44"/>
                  </a:lnTo>
                  <a:lnTo>
                    <a:pt x="298" y="44"/>
                  </a:lnTo>
                  <a:lnTo>
                    <a:pt x="298" y="41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7" y="38"/>
                  </a:lnTo>
                  <a:lnTo>
                    <a:pt x="310" y="38"/>
                  </a:lnTo>
                  <a:lnTo>
                    <a:pt x="313" y="36"/>
                  </a:lnTo>
                  <a:lnTo>
                    <a:pt x="316" y="36"/>
                  </a:lnTo>
                  <a:lnTo>
                    <a:pt x="318" y="36"/>
                  </a:lnTo>
                  <a:lnTo>
                    <a:pt x="321" y="33"/>
                  </a:lnTo>
                  <a:lnTo>
                    <a:pt x="324" y="33"/>
                  </a:lnTo>
                  <a:lnTo>
                    <a:pt x="327" y="33"/>
                  </a:lnTo>
                  <a:lnTo>
                    <a:pt x="327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6" y="27"/>
                  </a:lnTo>
                  <a:lnTo>
                    <a:pt x="316" y="24"/>
                  </a:lnTo>
                  <a:lnTo>
                    <a:pt x="316" y="21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9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1" y="3"/>
                  </a:lnTo>
                  <a:lnTo>
                    <a:pt x="324" y="3"/>
                  </a:lnTo>
                  <a:lnTo>
                    <a:pt x="327" y="0"/>
                  </a:lnTo>
                  <a:lnTo>
                    <a:pt x="333" y="3"/>
                  </a:lnTo>
                  <a:lnTo>
                    <a:pt x="339" y="6"/>
                  </a:lnTo>
                  <a:lnTo>
                    <a:pt x="348" y="9"/>
                  </a:lnTo>
                  <a:lnTo>
                    <a:pt x="357" y="9"/>
                  </a:lnTo>
                  <a:lnTo>
                    <a:pt x="366" y="6"/>
                  </a:lnTo>
                  <a:lnTo>
                    <a:pt x="375" y="6"/>
                  </a:lnTo>
                  <a:lnTo>
                    <a:pt x="380" y="9"/>
                  </a:lnTo>
                  <a:lnTo>
                    <a:pt x="383" y="9"/>
                  </a:lnTo>
                  <a:lnTo>
                    <a:pt x="386" y="12"/>
                  </a:lnTo>
                  <a:lnTo>
                    <a:pt x="395" y="9"/>
                  </a:lnTo>
                  <a:lnTo>
                    <a:pt x="395" y="12"/>
                  </a:lnTo>
                  <a:lnTo>
                    <a:pt x="398" y="12"/>
                  </a:lnTo>
                  <a:lnTo>
                    <a:pt x="401" y="15"/>
                  </a:lnTo>
                  <a:lnTo>
                    <a:pt x="404" y="15"/>
                  </a:lnTo>
                  <a:lnTo>
                    <a:pt x="407" y="12"/>
                  </a:lnTo>
                  <a:lnTo>
                    <a:pt x="410" y="12"/>
                  </a:lnTo>
                  <a:lnTo>
                    <a:pt x="413" y="15"/>
                  </a:lnTo>
                  <a:lnTo>
                    <a:pt x="416" y="15"/>
                  </a:lnTo>
                  <a:lnTo>
                    <a:pt x="419" y="12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12"/>
                  </a:lnTo>
                  <a:lnTo>
                    <a:pt x="434" y="15"/>
                  </a:lnTo>
                  <a:lnTo>
                    <a:pt x="437" y="18"/>
                  </a:lnTo>
                  <a:lnTo>
                    <a:pt x="448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48" y="24"/>
                  </a:lnTo>
                  <a:lnTo>
                    <a:pt x="451" y="27"/>
                  </a:lnTo>
                  <a:lnTo>
                    <a:pt x="457" y="27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3"/>
                  </a:lnTo>
                  <a:lnTo>
                    <a:pt x="466" y="36"/>
                  </a:lnTo>
                  <a:lnTo>
                    <a:pt x="466" y="38"/>
                  </a:lnTo>
                  <a:lnTo>
                    <a:pt x="466" y="41"/>
                  </a:lnTo>
                  <a:lnTo>
                    <a:pt x="469" y="44"/>
                  </a:lnTo>
                  <a:lnTo>
                    <a:pt x="472" y="41"/>
                  </a:lnTo>
                  <a:lnTo>
                    <a:pt x="475" y="38"/>
                  </a:lnTo>
                  <a:lnTo>
                    <a:pt x="475" y="36"/>
                  </a:lnTo>
                  <a:lnTo>
                    <a:pt x="481" y="36"/>
                  </a:lnTo>
                  <a:lnTo>
                    <a:pt x="484" y="38"/>
                  </a:lnTo>
                  <a:lnTo>
                    <a:pt x="487" y="38"/>
                  </a:lnTo>
                  <a:lnTo>
                    <a:pt x="490" y="41"/>
                  </a:lnTo>
                  <a:lnTo>
                    <a:pt x="493" y="44"/>
                  </a:lnTo>
                  <a:lnTo>
                    <a:pt x="493" y="50"/>
                  </a:lnTo>
                  <a:lnTo>
                    <a:pt x="498" y="53"/>
                  </a:lnTo>
                  <a:lnTo>
                    <a:pt x="504" y="53"/>
                  </a:lnTo>
                  <a:lnTo>
                    <a:pt x="507" y="53"/>
                  </a:lnTo>
                  <a:lnTo>
                    <a:pt x="513" y="56"/>
                  </a:lnTo>
                  <a:lnTo>
                    <a:pt x="516" y="56"/>
                  </a:lnTo>
                  <a:lnTo>
                    <a:pt x="522" y="53"/>
                  </a:lnTo>
                  <a:lnTo>
                    <a:pt x="522" y="50"/>
                  </a:lnTo>
                  <a:lnTo>
                    <a:pt x="525" y="44"/>
                  </a:lnTo>
                  <a:lnTo>
                    <a:pt x="531" y="41"/>
                  </a:lnTo>
                  <a:lnTo>
                    <a:pt x="537" y="41"/>
                  </a:lnTo>
                  <a:lnTo>
                    <a:pt x="537" y="44"/>
                  </a:lnTo>
                  <a:lnTo>
                    <a:pt x="537" y="47"/>
                  </a:lnTo>
                  <a:lnTo>
                    <a:pt x="537" y="53"/>
                  </a:lnTo>
                  <a:lnTo>
                    <a:pt x="537" y="56"/>
                  </a:lnTo>
                  <a:lnTo>
                    <a:pt x="540" y="59"/>
                  </a:lnTo>
                  <a:lnTo>
                    <a:pt x="540" y="62"/>
                  </a:lnTo>
                  <a:lnTo>
                    <a:pt x="534" y="65"/>
                  </a:lnTo>
                  <a:lnTo>
                    <a:pt x="534" y="74"/>
                  </a:lnTo>
                  <a:lnTo>
                    <a:pt x="534" y="80"/>
                  </a:lnTo>
                  <a:lnTo>
                    <a:pt x="537" y="83"/>
                  </a:lnTo>
                  <a:lnTo>
                    <a:pt x="540" y="86"/>
                  </a:lnTo>
                  <a:lnTo>
                    <a:pt x="543" y="89"/>
                  </a:lnTo>
                  <a:lnTo>
                    <a:pt x="546" y="92"/>
                  </a:lnTo>
                  <a:lnTo>
                    <a:pt x="546" y="95"/>
                  </a:lnTo>
                  <a:lnTo>
                    <a:pt x="549" y="100"/>
                  </a:lnTo>
                  <a:lnTo>
                    <a:pt x="555" y="97"/>
                  </a:lnTo>
                  <a:lnTo>
                    <a:pt x="558" y="95"/>
                  </a:lnTo>
                  <a:lnTo>
                    <a:pt x="560" y="89"/>
                  </a:lnTo>
                  <a:lnTo>
                    <a:pt x="563" y="92"/>
                  </a:lnTo>
                  <a:lnTo>
                    <a:pt x="563" y="95"/>
                  </a:lnTo>
                  <a:lnTo>
                    <a:pt x="566" y="97"/>
                  </a:lnTo>
                  <a:lnTo>
                    <a:pt x="566" y="100"/>
                  </a:lnTo>
                  <a:lnTo>
                    <a:pt x="566" y="106"/>
                  </a:lnTo>
                  <a:lnTo>
                    <a:pt x="563" y="112"/>
                  </a:lnTo>
                  <a:lnTo>
                    <a:pt x="560" y="115"/>
                  </a:lnTo>
                  <a:lnTo>
                    <a:pt x="560" y="121"/>
                  </a:lnTo>
                  <a:lnTo>
                    <a:pt x="558" y="124"/>
                  </a:lnTo>
                  <a:lnTo>
                    <a:pt x="563" y="127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72" y="136"/>
                  </a:lnTo>
                  <a:lnTo>
                    <a:pt x="572" y="139"/>
                  </a:lnTo>
                  <a:lnTo>
                    <a:pt x="572" y="142"/>
                  </a:lnTo>
                  <a:lnTo>
                    <a:pt x="581" y="139"/>
                  </a:lnTo>
                  <a:lnTo>
                    <a:pt x="584" y="142"/>
                  </a:lnTo>
                  <a:lnTo>
                    <a:pt x="587" y="148"/>
                  </a:lnTo>
                  <a:lnTo>
                    <a:pt x="584" y="151"/>
                  </a:lnTo>
                  <a:lnTo>
                    <a:pt x="584" y="154"/>
                  </a:lnTo>
                  <a:lnTo>
                    <a:pt x="584" y="156"/>
                  </a:lnTo>
                  <a:lnTo>
                    <a:pt x="584" y="162"/>
                  </a:lnTo>
                  <a:lnTo>
                    <a:pt x="590" y="162"/>
                  </a:lnTo>
                  <a:lnTo>
                    <a:pt x="590" y="165"/>
                  </a:lnTo>
                  <a:lnTo>
                    <a:pt x="596" y="162"/>
                  </a:lnTo>
                  <a:lnTo>
                    <a:pt x="602" y="162"/>
                  </a:lnTo>
                  <a:lnTo>
                    <a:pt x="608" y="168"/>
                  </a:lnTo>
                  <a:lnTo>
                    <a:pt x="608" y="171"/>
                  </a:lnTo>
                  <a:lnTo>
                    <a:pt x="608" y="174"/>
                  </a:lnTo>
                  <a:lnTo>
                    <a:pt x="608" y="177"/>
                  </a:lnTo>
                  <a:lnTo>
                    <a:pt x="611" y="177"/>
                  </a:lnTo>
                  <a:lnTo>
                    <a:pt x="614" y="177"/>
                  </a:lnTo>
                  <a:lnTo>
                    <a:pt x="617" y="177"/>
                  </a:lnTo>
                  <a:lnTo>
                    <a:pt x="617" y="174"/>
                  </a:lnTo>
                  <a:lnTo>
                    <a:pt x="619" y="174"/>
                  </a:lnTo>
                  <a:lnTo>
                    <a:pt x="622" y="177"/>
                  </a:lnTo>
                  <a:lnTo>
                    <a:pt x="625" y="183"/>
                  </a:lnTo>
                  <a:lnTo>
                    <a:pt x="631" y="183"/>
                  </a:lnTo>
                  <a:lnTo>
                    <a:pt x="634" y="186"/>
                  </a:lnTo>
                  <a:lnTo>
                    <a:pt x="634" y="192"/>
                  </a:lnTo>
                  <a:lnTo>
                    <a:pt x="634" y="198"/>
                  </a:lnTo>
                  <a:lnTo>
                    <a:pt x="640" y="198"/>
                  </a:lnTo>
                  <a:lnTo>
                    <a:pt x="646" y="198"/>
                  </a:lnTo>
                  <a:lnTo>
                    <a:pt x="649" y="198"/>
                  </a:lnTo>
                  <a:lnTo>
                    <a:pt x="652" y="204"/>
                  </a:lnTo>
                  <a:lnTo>
                    <a:pt x="652" y="207"/>
                  </a:lnTo>
                  <a:lnTo>
                    <a:pt x="655" y="210"/>
                  </a:lnTo>
                  <a:lnTo>
                    <a:pt x="661" y="218"/>
                  </a:lnTo>
                  <a:lnTo>
                    <a:pt x="655" y="221"/>
                  </a:lnTo>
                  <a:lnTo>
                    <a:pt x="655" y="224"/>
                  </a:lnTo>
                  <a:lnTo>
                    <a:pt x="658" y="227"/>
                  </a:lnTo>
                  <a:lnTo>
                    <a:pt x="664" y="227"/>
                  </a:lnTo>
                  <a:lnTo>
                    <a:pt x="673" y="233"/>
                  </a:lnTo>
                  <a:lnTo>
                    <a:pt x="661" y="248"/>
                  </a:lnTo>
                  <a:lnTo>
                    <a:pt x="655" y="257"/>
                  </a:lnTo>
                  <a:lnTo>
                    <a:pt x="655" y="260"/>
                  </a:lnTo>
                  <a:lnTo>
                    <a:pt x="649" y="257"/>
                  </a:lnTo>
                  <a:lnTo>
                    <a:pt x="643" y="260"/>
                  </a:lnTo>
                  <a:lnTo>
                    <a:pt x="640" y="263"/>
                  </a:lnTo>
                  <a:lnTo>
                    <a:pt x="634" y="269"/>
                  </a:lnTo>
                  <a:lnTo>
                    <a:pt x="631" y="272"/>
                  </a:lnTo>
                  <a:lnTo>
                    <a:pt x="625" y="269"/>
                  </a:lnTo>
                  <a:lnTo>
                    <a:pt x="619" y="266"/>
                  </a:lnTo>
                  <a:lnTo>
                    <a:pt x="619" y="272"/>
                  </a:lnTo>
                  <a:lnTo>
                    <a:pt x="622" y="272"/>
                  </a:lnTo>
                  <a:lnTo>
                    <a:pt x="628" y="275"/>
                  </a:lnTo>
                  <a:lnTo>
                    <a:pt x="628" y="280"/>
                  </a:lnTo>
                  <a:lnTo>
                    <a:pt x="631" y="280"/>
                  </a:lnTo>
                  <a:lnTo>
                    <a:pt x="637" y="280"/>
                  </a:lnTo>
                  <a:lnTo>
                    <a:pt x="643" y="280"/>
                  </a:lnTo>
                  <a:lnTo>
                    <a:pt x="646" y="286"/>
                  </a:lnTo>
                  <a:lnTo>
                    <a:pt x="640" y="289"/>
                  </a:lnTo>
                  <a:lnTo>
                    <a:pt x="637" y="289"/>
                  </a:lnTo>
                  <a:lnTo>
                    <a:pt x="625" y="286"/>
                  </a:lnTo>
                  <a:lnTo>
                    <a:pt x="622" y="292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5" y="301"/>
                  </a:lnTo>
                  <a:lnTo>
                    <a:pt x="625" y="307"/>
                  </a:lnTo>
                  <a:lnTo>
                    <a:pt x="625" y="313"/>
                  </a:lnTo>
                  <a:lnTo>
                    <a:pt x="625" y="316"/>
                  </a:lnTo>
                  <a:lnTo>
                    <a:pt x="628" y="322"/>
                  </a:lnTo>
                  <a:lnTo>
                    <a:pt x="625" y="328"/>
                  </a:lnTo>
                  <a:lnTo>
                    <a:pt x="628" y="334"/>
                  </a:lnTo>
                  <a:lnTo>
                    <a:pt x="625" y="334"/>
                  </a:lnTo>
                  <a:lnTo>
                    <a:pt x="622" y="334"/>
                  </a:lnTo>
                  <a:lnTo>
                    <a:pt x="622" y="336"/>
                  </a:lnTo>
                  <a:lnTo>
                    <a:pt x="619" y="336"/>
                  </a:lnTo>
                  <a:lnTo>
                    <a:pt x="617" y="336"/>
                  </a:lnTo>
                  <a:lnTo>
                    <a:pt x="614" y="339"/>
                  </a:lnTo>
                  <a:lnTo>
                    <a:pt x="605" y="342"/>
                  </a:lnTo>
                  <a:lnTo>
                    <a:pt x="602" y="342"/>
                  </a:lnTo>
                  <a:lnTo>
                    <a:pt x="599" y="342"/>
                  </a:lnTo>
                  <a:lnTo>
                    <a:pt x="593" y="342"/>
                  </a:lnTo>
                  <a:lnTo>
                    <a:pt x="590" y="345"/>
                  </a:lnTo>
                  <a:lnTo>
                    <a:pt x="593" y="348"/>
                  </a:lnTo>
                  <a:lnTo>
                    <a:pt x="593" y="351"/>
                  </a:lnTo>
                  <a:lnTo>
                    <a:pt x="596" y="354"/>
                  </a:lnTo>
                  <a:lnTo>
                    <a:pt x="599" y="360"/>
                  </a:lnTo>
                  <a:lnTo>
                    <a:pt x="599" y="363"/>
                  </a:lnTo>
                  <a:lnTo>
                    <a:pt x="596" y="366"/>
                  </a:lnTo>
                  <a:lnTo>
                    <a:pt x="590" y="366"/>
                  </a:lnTo>
                  <a:lnTo>
                    <a:pt x="587" y="369"/>
                  </a:lnTo>
                  <a:lnTo>
                    <a:pt x="590" y="372"/>
                  </a:lnTo>
                  <a:lnTo>
                    <a:pt x="590" y="378"/>
                  </a:lnTo>
                  <a:lnTo>
                    <a:pt x="590" y="381"/>
                  </a:lnTo>
                  <a:lnTo>
                    <a:pt x="593" y="381"/>
                  </a:lnTo>
                  <a:lnTo>
                    <a:pt x="596" y="381"/>
                  </a:lnTo>
                  <a:lnTo>
                    <a:pt x="602" y="381"/>
                  </a:lnTo>
                  <a:lnTo>
                    <a:pt x="611" y="378"/>
                  </a:lnTo>
                  <a:lnTo>
                    <a:pt x="617" y="378"/>
                  </a:lnTo>
                  <a:lnTo>
                    <a:pt x="622" y="378"/>
                  </a:lnTo>
                  <a:lnTo>
                    <a:pt x="625" y="378"/>
                  </a:lnTo>
                  <a:lnTo>
                    <a:pt x="631" y="378"/>
                  </a:lnTo>
                  <a:lnTo>
                    <a:pt x="637" y="378"/>
                  </a:lnTo>
                  <a:lnTo>
                    <a:pt x="640" y="378"/>
                  </a:lnTo>
                  <a:lnTo>
                    <a:pt x="643" y="381"/>
                  </a:lnTo>
                  <a:lnTo>
                    <a:pt x="643" y="384"/>
                  </a:lnTo>
                  <a:lnTo>
                    <a:pt x="637" y="387"/>
                  </a:lnTo>
                  <a:lnTo>
                    <a:pt x="631" y="387"/>
                  </a:lnTo>
                  <a:lnTo>
                    <a:pt x="625" y="387"/>
                  </a:lnTo>
                  <a:lnTo>
                    <a:pt x="619" y="390"/>
                  </a:lnTo>
                  <a:lnTo>
                    <a:pt x="617" y="387"/>
                  </a:lnTo>
                  <a:lnTo>
                    <a:pt x="614" y="390"/>
                  </a:lnTo>
                  <a:lnTo>
                    <a:pt x="608" y="390"/>
                  </a:lnTo>
                  <a:lnTo>
                    <a:pt x="605" y="396"/>
                  </a:lnTo>
                  <a:lnTo>
                    <a:pt x="602" y="398"/>
                  </a:lnTo>
                  <a:lnTo>
                    <a:pt x="602" y="404"/>
                  </a:lnTo>
                  <a:lnTo>
                    <a:pt x="599" y="407"/>
                  </a:lnTo>
                  <a:lnTo>
                    <a:pt x="596" y="407"/>
                  </a:lnTo>
                  <a:lnTo>
                    <a:pt x="590" y="407"/>
                  </a:lnTo>
                  <a:lnTo>
                    <a:pt x="587" y="410"/>
                  </a:lnTo>
                  <a:lnTo>
                    <a:pt x="587" y="413"/>
                  </a:lnTo>
                  <a:lnTo>
                    <a:pt x="584" y="416"/>
                  </a:lnTo>
                  <a:lnTo>
                    <a:pt x="581" y="419"/>
                  </a:lnTo>
                  <a:lnTo>
                    <a:pt x="575" y="419"/>
                  </a:lnTo>
                  <a:lnTo>
                    <a:pt x="572" y="419"/>
                  </a:lnTo>
                  <a:lnTo>
                    <a:pt x="566" y="419"/>
                  </a:lnTo>
                  <a:lnTo>
                    <a:pt x="563" y="419"/>
                  </a:lnTo>
                  <a:lnTo>
                    <a:pt x="566" y="425"/>
                  </a:lnTo>
                  <a:lnTo>
                    <a:pt x="572" y="425"/>
                  </a:lnTo>
                  <a:lnTo>
                    <a:pt x="575" y="425"/>
                  </a:lnTo>
                  <a:lnTo>
                    <a:pt x="578" y="425"/>
                  </a:lnTo>
                  <a:lnTo>
                    <a:pt x="578" y="428"/>
                  </a:lnTo>
                  <a:lnTo>
                    <a:pt x="581" y="428"/>
                  </a:lnTo>
                  <a:lnTo>
                    <a:pt x="584" y="431"/>
                  </a:lnTo>
                  <a:lnTo>
                    <a:pt x="587" y="434"/>
                  </a:lnTo>
                  <a:lnTo>
                    <a:pt x="590" y="437"/>
                  </a:lnTo>
                  <a:lnTo>
                    <a:pt x="593" y="440"/>
                  </a:lnTo>
                  <a:lnTo>
                    <a:pt x="593" y="443"/>
                  </a:lnTo>
                  <a:lnTo>
                    <a:pt x="593" y="446"/>
                  </a:lnTo>
                  <a:lnTo>
                    <a:pt x="593" y="449"/>
                  </a:lnTo>
                  <a:lnTo>
                    <a:pt x="596" y="449"/>
                  </a:lnTo>
                  <a:lnTo>
                    <a:pt x="596" y="455"/>
                  </a:lnTo>
                  <a:lnTo>
                    <a:pt x="599" y="460"/>
                  </a:lnTo>
                  <a:lnTo>
                    <a:pt x="599" y="463"/>
                  </a:lnTo>
                  <a:lnTo>
                    <a:pt x="596" y="469"/>
                  </a:lnTo>
                  <a:lnTo>
                    <a:pt x="590" y="472"/>
                  </a:lnTo>
                  <a:lnTo>
                    <a:pt x="587" y="472"/>
                  </a:lnTo>
                  <a:lnTo>
                    <a:pt x="584" y="472"/>
                  </a:lnTo>
                  <a:lnTo>
                    <a:pt x="581" y="475"/>
                  </a:lnTo>
                  <a:lnTo>
                    <a:pt x="584" y="481"/>
                  </a:lnTo>
                  <a:lnTo>
                    <a:pt x="581" y="484"/>
                  </a:lnTo>
                  <a:lnTo>
                    <a:pt x="578" y="484"/>
                  </a:lnTo>
                  <a:lnTo>
                    <a:pt x="572" y="484"/>
                  </a:lnTo>
                  <a:lnTo>
                    <a:pt x="569" y="484"/>
                  </a:lnTo>
                  <a:lnTo>
                    <a:pt x="563" y="484"/>
                  </a:lnTo>
                  <a:lnTo>
                    <a:pt x="560" y="484"/>
                  </a:lnTo>
                  <a:lnTo>
                    <a:pt x="558" y="478"/>
                  </a:lnTo>
                  <a:lnTo>
                    <a:pt x="558" y="475"/>
                  </a:lnTo>
                  <a:lnTo>
                    <a:pt x="555" y="475"/>
                  </a:lnTo>
                  <a:lnTo>
                    <a:pt x="546" y="472"/>
                  </a:lnTo>
                  <a:lnTo>
                    <a:pt x="543" y="472"/>
                  </a:lnTo>
                  <a:lnTo>
                    <a:pt x="540" y="472"/>
                  </a:lnTo>
                  <a:lnTo>
                    <a:pt x="537" y="472"/>
                  </a:lnTo>
                  <a:lnTo>
                    <a:pt x="537" y="478"/>
                  </a:lnTo>
                  <a:lnTo>
                    <a:pt x="537" y="481"/>
                  </a:lnTo>
                  <a:lnTo>
                    <a:pt x="543" y="484"/>
                  </a:lnTo>
                  <a:lnTo>
                    <a:pt x="543" y="490"/>
                  </a:lnTo>
                  <a:lnTo>
                    <a:pt x="540" y="496"/>
                  </a:lnTo>
                  <a:lnTo>
                    <a:pt x="537" y="499"/>
                  </a:lnTo>
                  <a:lnTo>
                    <a:pt x="531" y="505"/>
                  </a:lnTo>
                  <a:lnTo>
                    <a:pt x="534" y="508"/>
                  </a:lnTo>
                  <a:lnTo>
                    <a:pt x="537" y="511"/>
                  </a:lnTo>
                  <a:lnTo>
                    <a:pt x="534" y="517"/>
                  </a:lnTo>
                  <a:lnTo>
                    <a:pt x="534" y="522"/>
                  </a:lnTo>
                  <a:lnTo>
                    <a:pt x="531" y="525"/>
                  </a:lnTo>
                  <a:lnTo>
                    <a:pt x="525" y="525"/>
                  </a:lnTo>
                  <a:lnTo>
                    <a:pt x="519" y="525"/>
                  </a:lnTo>
                  <a:lnTo>
                    <a:pt x="516" y="525"/>
                  </a:lnTo>
                  <a:lnTo>
                    <a:pt x="513" y="531"/>
                  </a:lnTo>
                  <a:lnTo>
                    <a:pt x="510" y="531"/>
                  </a:lnTo>
                  <a:lnTo>
                    <a:pt x="510" y="525"/>
                  </a:lnTo>
                  <a:lnTo>
                    <a:pt x="510" y="522"/>
                  </a:lnTo>
                  <a:lnTo>
                    <a:pt x="504" y="519"/>
                  </a:lnTo>
                  <a:lnTo>
                    <a:pt x="501" y="522"/>
                  </a:lnTo>
                  <a:lnTo>
                    <a:pt x="496" y="522"/>
                  </a:lnTo>
                  <a:lnTo>
                    <a:pt x="493" y="519"/>
                  </a:lnTo>
                  <a:lnTo>
                    <a:pt x="493" y="517"/>
                  </a:lnTo>
                  <a:lnTo>
                    <a:pt x="498" y="517"/>
                  </a:lnTo>
                  <a:lnTo>
                    <a:pt x="501" y="514"/>
                  </a:lnTo>
                  <a:lnTo>
                    <a:pt x="504" y="514"/>
                  </a:lnTo>
                  <a:lnTo>
                    <a:pt x="504" y="511"/>
                  </a:lnTo>
                  <a:lnTo>
                    <a:pt x="507" y="508"/>
                  </a:lnTo>
                  <a:lnTo>
                    <a:pt x="501" y="508"/>
                  </a:lnTo>
                  <a:lnTo>
                    <a:pt x="498" y="508"/>
                  </a:lnTo>
                  <a:lnTo>
                    <a:pt x="493" y="508"/>
                  </a:lnTo>
                  <a:lnTo>
                    <a:pt x="490" y="508"/>
                  </a:lnTo>
                  <a:lnTo>
                    <a:pt x="487" y="508"/>
                  </a:lnTo>
                  <a:lnTo>
                    <a:pt x="478" y="511"/>
                  </a:lnTo>
                  <a:lnTo>
                    <a:pt x="478" y="514"/>
                  </a:lnTo>
                  <a:lnTo>
                    <a:pt x="481" y="517"/>
                  </a:lnTo>
                  <a:lnTo>
                    <a:pt x="484" y="519"/>
                  </a:lnTo>
                  <a:lnTo>
                    <a:pt x="481" y="517"/>
                  </a:lnTo>
                  <a:lnTo>
                    <a:pt x="478" y="517"/>
                  </a:lnTo>
                  <a:lnTo>
                    <a:pt x="475" y="519"/>
                  </a:lnTo>
                  <a:lnTo>
                    <a:pt x="472" y="522"/>
                  </a:lnTo>
                  <a:lnTo>
                    <a:pt x="469" y="522"/>
                  </a:lnTo>
                  <a:lnTo>
                    <a:pt x="466" y="519"/>
                  </a:lnTo>
                  <a:lnTo>
                    <a:pt x="463" y="519"/>
                  </a:lnTo>
                  <a:lnTo>
                    <a:pt x="460" y="522"/>
                  </a:lnTo>
                  <a:lnTo>
                    <a:pt x="457" y="522"/>
                  </a:lnTo>
                  <a:lnTo>
                    <a:pt x="460" y="519"/>
                  </a:lnTo>
                  <a:lnTo>
                    <a:pt x="460" y="517"/>
                  </a:lnTo>
                  <a:lnTo>
                    <a:pt x="460" y="514"/>
                  </a:lnTo>
                  <a:lnTo>
                    <a:pt x="463" y="511"/>
                  </a:lnTo>
                  <a:lnTo>
                    <a:pt x="463" y="508"/>
                  </a:lnTo>
                  <a:lnTo>
                    <a:pt x="466" y="505"/>
                  </a:lnTo>
                  <a:lnTo>
                    <a:pt x="469" y="502"/>
                  </a:lnTo>
                  <a:lnTo>
                    <a:pt x="469" y="499"/>
                  </a:lnTo>
                  <a:lnTo>
                    <a:pt x="472" y="499"/>
                  </a:lnTo>
                  <a:lnTo>
                    <a:pt x="475" y="499"/>
                  </a:lnTo>
                  <a:lnTo>
                    <a:pt x="478" y="496"/>
                  </a:lnTo>
                  <a:lnTo>
                    <a:pt x="481" y="496"/>
                  </a:lnTo>
                  <a:lnTo>
                    <a:pt x="481" y="493"/>
                  </a:lnTo>
                  <a:lnTo>
                    <a:pt x="478" y="490"/>
                  </a:lnTo>
                  <a:lnTo>
                    <a:pt x="478" y="487"/>
                  </a:lnTo>
                  <a:lnTo>
                    <a:pt x="478" y="484"/>
                  </a:lnTo>
                  <a:lnTo>
                    <a:pt x="481" y="478"/>
                  </a:lnTo>
                  <a:lnTo>
                    <a:pt x="481" y="475"/>
                  </a:lnTo>
                  <a:lnTo>
                    <a:pt x="481" y="472"/>
                  </a:lnTo>
                  <a:lnTo>
                    <a:pt x="478" y="466"/>
                  </a:lnTo>
                  <a:lnTo>
                    <a:pt x="478" y="463"/>
                  </a:lnTo>
                  <a:lnTo>
                    <a:pt x="475" y="457"/>
                  </a:lnTo>
                  <a:lnTo>
                    <a:pt x="475" y="455"/>
                  </a:lnTo>
                  <a:lnTo>
                    <a:pt x="475" y="452"/>
                  </a:lnTo>
                  <a:lnTo>
                    <a:pt x="475" y="443"/>
                  </a:lnTo>
                  <a:lnTo>
                    <a:pt x="472" y="440"/>
                  </a:lnTo>
                  <a:lnTo>
                    <a:pt x="472" y="437"/>
                  </a:lnTo>
                  <a:lnTo>
                    <a:pt x="469" y="437"/>
                  </a:lnTo>
                  <a:lnTo>
                    <a:pt x="469" y="431"/>
                  </a:lnTo>
                  <a:lnTo>
                    <a:pt x="469" y="425"/>
                  </a:lnTo>
                  <a:lnTo>
                    <a:pt x="472" y="422"/>
                  </a:lnTo>
                  <a:lnTo>
                    <a:pt x="469" y="419"/>
                  </a:lnTo>
                  <a:lnTo>
                    <a:pt x="466" y="419"/>
                  </a:lnTo>
                  <a:lnTo>
                    <a:pt x="466" y="416"/>
                  </a:lnTo>
                  <a:lnTo>
                    <a:pt x="463" y="416"/>
                  </a:lnTo>
                  <a:lnTo>
                    <a:pt x="460" y="419"/>
                  </a:lnTo>
                  <a:lnTo>
                    <a:pt x="457" y="416"/>
                  </a:lnTo>
                  <a:lnTo>
                    <a:pt x="457" y="413"/>
                  </a:lnTo>
                  <a:lnTo>
                    <a:pt x="457" y="407"/>
                  </a:lnTo>
                  <a:lnTo>
                    <a:pt x="457" y="404"/>
                  </a:lnTo>
                  <a:lnTo>
                    <a:pt x="460" y="404"/>
                  </a:lnTo>
                  <a:lnTo>
                    <a:pt x="460" y="401"/>
                  </a:lnTo>
                  <a:lnTo>
                    <a:pt x="457" y="401"/>
                  </a:lnTo>
                  <a:lnTo>
                    <a:pt x="457" y="398"/>
                  </a:lnTo>
                  <a:lnTo>
                    <a:pt x="454" y="396"/>
                  </a:lnTo>
                  <a:lnTo>
                    <a:pt x="454" y="393"/>
                  </a:lnTo>
                  <a:lnTo>
                    <a:pt x="457" y="390"/>
                  </a:lnTo>
                  <a:lnTo>
                    <a:pt x="460" y="387"/>
                  </a:lnTo>
                  <a:lnTo>
                    <a:pt x="463" y="384"/>
                  </a:lnTo>
                  <a:lnTo>
                    <a:pt x="466" y="384"/>
                  </a:lnTo>
                  <a:lnTo>
                    <a:pt x="466" y="381"/>
                  </a:lnTo>
                  <a:lnTo>
                    <a:pt x="469" y="378"/>
                  </a:lnTo>
                  <a:lnTo>
                    <a:pt x="472" y="378"/>
                  </a:lnTo>
                  <a:lnTo>
                    <a:pt x="469" y="375"/>
                  </a:lnTo>
                  <a:lnTo>
                    <a:pt x="466" y="375"/>
                  </a:lnTo>
                  <a:lnTo>
                    <a:pt x="463" y="378"/>
                  </a:lnTo>
                  <a:lnTo>
                    <a:pt x="460" y="378"/>
                  </a:lnTo>
                  <a:lnTo>
                    <a:pt x="460" y="375"/>
                  </a:lnTo>
                  <a:lnTo>
                    <a:pt x="466" y="372"/>
                  </a:lnTo>
                  <a:lnTo>
                    <a:pt x="469" y="369"/>
                  </a:lnTo>
                  <a:lnTo>
                    <a:pt x="475" y="366"/>
                  </a:lnTo>
                  <a:lnTo>
                    <a:pt x="481" y="363"/>
                  </a:lnTo>
                  <a:lnTo>
                    <a:pt x="484" y="357"/>
                  </a:lnTo>
                  <a:lnTo>
                    <a:pt x="484" y="351"/>
                  </a:lnTo>
                  <a:lnTo>
                    <a:pt x="478" y="351"/>
                  </a:lnTo>
                  <a:lnTo>
                    <a:pt x="475" y="351"/>
                  </a:lnTo>
                  <a:lnTo>
                    <a:pt x="472" y="348"/>
                  </a:lnTo>
                  <a:lnTo>
                    <a:pt x="466" y="348"/>
                  </a:lnTo>
                  <a:lnTo>
                    <a:pt x="457" y="351"/>
                  </a:lnTo>
                  <a:lnTo>
                    <a:pt x="454" y="351"/>
                  </a:lnTo>
                  <a:lnTo>
                    <a:pt x="448" y="348"/>
                  </a:lnTo>
                  <a:lnTo>
                    <a:pt x="451" y="345"/>
                  </a:lnTo>
                  <a:lnTo>
                    <a:pt x="451" y="342"/>
                  </a:lnTo>
                  <a:lnTo>
                    <a:pt x="457" y="334"/>
                  </a:lnTo>
                  <a:lnTo>
                    <a:pt x="460" y="328"/>
                  </a:lnTo>
                  <a:lnTo>
                    <a:pt x="463" y="325"/>
                  </a:lnTo>
                  <a:lnTo>
                    <a:pt x="460" y="322"/>
                  </a:lnTo>
                  <a:lnTo>
                    <a:pt x="457" y="325"/>
                  </a:lnTo>
                  <a:lnTo>
                    <a:pt x="451" y="328"/>
                  </a:lnTo>
                  <a:lnTo>
                    <a:pt x="451" y="325"/>
                  </a:lnTo>
                  <a:lnTo>
                    <a:pt x="454" y="325"/>
                  </a:lnTo>
                  <a:lnTo>
                    <a:pt x="448" y="325"/>
                  </a:lnTo>
                  <a:lnTo>
                    <a:pt x="448" y="316"/>
                  </a:lnTo>
                  <a:lnTo>
                    <a:pt x="448" y="310"/>
                  </a:lnTo>
                  <a:lnTo>
                    <a:pt x="451" y="307"/>
                  </a:lnTo>
                  <a:lnTo>
                    <a:pt x="451" y="304"/>
                  </a:lnTo>
                  <a:lnTo>
                    <a:pt x="448" y="304"/>
                  </a:lnTo>
                  <a:lnTo>
                    <a:pt x="448" y="301"/>
                  </a:lnTo>
                  <a:lnTo>
                    <a:pt x="451" y="298"/>
                  </a:lnTo>
                  <a:lnTo>
                    <a:pt x="448" y="301"/>
                  </a:lnTo>
                  <a:lnTo>
                    <a:pt x="448" y="298"/>
                  </a:lnTo>
                  <a:lnTo>
                    <a:pt x="454" y="295"/>
                  </a:lnTo>
                  <a:lnTo>
                    <a:pt x="457" y="292"/>
                  </a:lnTo>
                  <a:lnTo>
                    <a:pt x="463" y="289"/>
                  </a:lnTo>
                  <a:lnTo>
                    <a:pt x="469" y="289"/>
                  </a:lnTo>
                  <a:lnTo>
                    <a:pt x="463" y="289"/>
                  </a:lnTo>
                  <a:lnTo>
                    <a:pt x="457" y="289"/>
                  </a:lnTo>
                  <a:lnTo>
                    <a:pt x="448" y="292"/>
                  </a:lnTo>
                  <a:lnTo>
                    <a:pt x="445" y="295"/>
                  </a:lnTo>
                  <a:lnTo>
                    <a:pt x="442" y="295"/>
                  </a:lnTo>
                  <a:lnTo>
                    <a:pt x="442" y="289"/>
                  </a:lnTo>
                  <a:lnTo>
                    <a:pt x="442" y="280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39" y="277"/>
                  </a:lnTo>
                  <a:lnTo>
                    <a:pt x="437" y="283"/>
                  </a:lnTo>
                  <a:lnTo>
                    <a:pt x="434" y="289"/>
                  </a:lnTo>
                  <a:lnTo>
                    <a:pt x="431" y="295"/>
                  </a:lnTo>
                  <a:lnTo>
                    <a:pt x="431" y="301"/>
                  </a:lnTo>
                  <a:lnTo>
                    <a:pt x="425" y="307"/>
                  </a:lnTo>
                  <a:lnTo>
                    <a:pt x="422" y="313"/>
                  </a:lnTo>
                  <a:lnTo>
                    <a:pt x="422" y="316"/>
                  </a:lnTo>
                  <a:lnTo>
                    <a:pt x="422" y="328"/>
                  </a:lnTo>
                  <a:lnTo>
                    <a:pt x="425" y="331"/>
                  </a:lnTo>
                  <a:lnTo>
                    <a:pt x="425" y="334"/>
                  </a:lnTo>
                  <a:lnTo>
                    <a:pt x="425" y="339"/>
                  </a:lnTo>
                  <a:lnTo>
                    <a:pt x="422" y="336"/>
                  </a:lnTo>
                  <a:lnTo>
                    <a:pt x="419" y="345"/>
                  </a:lnTo>
                  <a:lnTo>
                    <a:pt x="425" y="351"/>
                  </a:lnTo>
                  <a:lnTo>
                    <a:pt x="425" y="357"/>
                  </a:lnTo>
                  <a:lnTo>
                    <a:pt x="422" y="363"/>
                  </a:lnTo>
                  <a:lnTo>
                    <a:pt x="416" y="372"/>
                  </a:lnTo>
                  <a:lnTo>
                    <a:pt x="410" y="378"/>
                  </a:lnTo>
                  <a:lnTo>
                    <a:pt x="404" y="384"/>
                  </a:lnTo>
                  <a:lnTo>
                    <a:pt x="401" y="393"/>
                  </a:lnTo>
                  <a:lnTo>
                    <a:pt x="401" y="396"/>
                  </a:lnTo>
                  <a:lnTo>
                    <a:pt x="395" y="398"/>
                  </a:lnTo>
                  <a:lnTo>
                    <a:pt x="380" y="404"/>
                  </a:lnTo>
                  <a:lnTo>
                    <a:pt x="369" y="410"/>
                  </a:lnTo>
                  <a:lnTo>
                    <a:pt x="363" y="413"/>
                  </a:lnTo>
                  <a:lnTo>
                    <a:pt x="357" y="416"/>
                  </a:lnTo>
                  <a:lnTo>
                    <a:pt x="354" y="416"/>
                  </a:lnTo>
                  <a:lnTo>
                    <a:pt x="345" y="419"/>
                  </a:lnTo>
                  <a:lnTo>
                    <a:pt x="342" y="419"/>
                  </a:lnTo>
                  <a:lnTo>
                    <a:pt x="339" y="419"/>
                  </a:lnTo>
                  <a:lnTo>
                    <a:pt x="336" y="419"/>
                  </a:lnTo>
                  <a:lnTo>
                    <a:pt x="330" y="422"/>
                  </a:lnTo>
                  <a:lnTo>
                    <a:pt x="327" y="425"/>
                  </a:lnTo>
                  <a:lnTo>
                    <a:pt x="318" y="428"/>
                  </a:lnTo>
                  <a:lnTo>
                    <a:pt x="316" y="428"/>
                  </a:lnTo>
                  <a:lnTo>
                    <a:pt x="316" y="431"/>
                  </a:lnTo>
                  <a:lnTo>
                    <a:pt x="313" y="431"/>
                  </a:lnTo>
                  <a:lnTo>
                    <a:pt x="301" y="434"/>
                  </a:lnTo>
                  <a:lnTo>
                    <a:pt x="295" y="434"/>
                  </a:lnTo>
                  <a:lnTo>
                    <a:pt x="292" y="437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77" y="437"/>
                  </a:lnTo>
                  <a:lnTo>
                    <a:pt x="271" y="440"/>
                  </a:lnTo>
                  <a:lnTo>
                    <a:pt x="265" y="437"/>
                  </a:lnTo>
                  <a:lnTo>
                    <a:pt x="259" y="437"/>
                  </a:lnTo>
                  <a:lnTo>
                    <a:pt x="256" y="437"/>
                  </a:lnTo>
                  <a:lnTo>
                    <a:pt x="254" y="434"/>
                  </a:lnTo>
                  <a:lnTo>
                    <a:pt x="254" y="431"/>
                  </a:lnTo>
                  <a:lnTo>
                    <a:pt x="256" y="428"/>
                  </a:lnTo>
                  <a:lnTo>
                    <a:pt x="259" y="425"/>
                  </a:lnTo>
                  <a:lnTo>
                    <a:pt x="259" y="422"/>
                  </a:lnTo>
                  <a:lnTo>
                    <a:pt x="254" y="422"/>
                  </a:lnTo>
                  <a:lnTo>
                    <a:pt x="254" y="419"/>
                  </a:lnTo>
                  <a:lnTo>
                    <a:pt x="256" y="416"/>
                  </a:lnTo>
                  <a:lnTo>
                    <a:pt x="259" y="413"/>
                  </a:lnTo>
                  <a:lnTo>
                    <a:pt x="259" y="410"/>
                  </a:lnTo>
                  <a:lnTo>
                    <a:pt x="254" y="407"/>
                  </a:lnTo>
                  <a:lnTo>
                    <a:pt x="248" y="407"/>
                  </a:lnTo>
                  <a:lnTo>
                    <a:pt x="242" y="404"/>
                  </a:lnTo>
                  <a:lnTo>
                    <a:pt x="236" y="410"/>
                  </a:lnTo>
                  <a:lnTo>
                    <a:pt x="236" y="416"/>
                  </a:lnTo>
                  <a:lnTo>
                    <a:pt x="236" y="419"/>
                  </a:lnTo>
                  <a:lnTo>
                    <a:pt x="236" y="422"/>
                  </a:lnTo>
                  <a:lnTo>
                    <a:pt x="233" y="425"/>
                  </a:lnTo>
                  <a:lnTo>
                    <a:pt x="230" y="43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4" name="Freeform 12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249674" y="1479884"/>
              <a:ext cx="157626" cy="114826"/>
            </a:xfrm>
            <a:custGeom>
              <a:avLst/>
              <a:gdLst>
                <a:gd name="T0" fmla="*/ 647 w 954"/>
                <a:gd name="T1" fmla="*/ 602 h 647"/>
                <a:gd name="T2" fmla="*/ 573 w 954"/>
                <a:gd name="T3" fmla="*/ 588 h 647"/>
                <a:gd name="T4" fmla="*/ 511 w 954"/>
                <a:gd name="T5" fmla="*/ 608 h 647"/>
                <a:gd name="T6" fmla="*/ 446 w 954"/>
                <a:gd name="T7" fmla="*/ 599 h 647"/>
                <a:gd name="T8" fmla="*/ 366 w 954"/>
                <a:gd name="T9" fmla="*/ 599 h 647"/>
                <a:gd name="T10" fmla="*/ 331 w 954"/>
                <a:gd name="T11" fmla="*/ 576 h 647"/>
                <a:gd name="T12" fmla="*/ 275 w 954"/>
                <a:gd name="T13" fmla="*/ 638 h 647"/>
                <a:gd name="T14" fmla="*/ 222 w 954"/>
                <a:gd name="T15" fmla="*/ 620 h 647"/>
                <a:gd name="T16" fmla="*/ 119 w 954"/>
                <a:gd name="T17" fmla="*/ 599 h 647"/>
                <a:gd name="T18" fmla="*/ 42 w 954"/>
                <a:gd name="T19" fmla="*/ 526 h 647"/>
                <a:gd name="T20" fmla="*/ 6 w 954"/>
                <a:gd name="T21" fmla="*/ 514 h 647"/>
                <a:gd name="T22" fmla="*/ 0 w 954"/>
                <a:gd name="T23" fmla="*/ 470 h 647"/>
                <a:gd name="T24" fmla="*/ 36 w 954"/>
                <a:gd name="T25" fmla="*/ 408 h 647"/>
                <a:gd name="T26" fmla="*/ 60 w 954"/>
                <a:gd name="T27" fmla="*/ 384 h 647"/>
                <a:gd name="T28" fmla="*/ 113 w 954"/>
                <a:gd name="T29" fmla="*/ 310 h 647"/>
                <a:gd name="T30" fmla="*/ 98 w 954"/>
                <a:gd name="T31" fmla="*/ 242 h 647"/>
                <a:gd name="T32" fmla="*/ 104 w 954"/>
                <a:gd name="T33" fmla="*/ 216 h 647"/>
                <a:gd name="T34" fmla="*/ 160 w 954"/>
                <a:gd name="T35" fmla="*/ 192 h 647"/>
                <a:gd name="T36" fmla="*/ 145 w 954"/>
                <a:gd name="T37" fmla="*/ 210 h 647"/>
                <a:gd name="T38" fmla="*/ 210 w 954"/>
                <a:gd name="T39" fmla="*/ 228 h 647"/>
                <a:gd name="T40" fmla="*/ 207 w 954"/>
                <a:gd name="T41" fmla="*/ 278 h 647"/>
                <a:gd name="T42" fmla="*/ 166 w 954"/>
                <a:gd name="T43" fmla="*/ 322 h 647"/>
                <a:gd name="T44" fmla="*/ 231 w 954"/>
                <a:gd name="T45" fmla="*/ 310 h 647"/>
                <a:gd name="T46" fmla="*/ 287 w 954"/>
                <a:gd name="T47" fmla="*/ 295 h 647"/>
                <a:gd name="T48" fmla="*/ 313 w 954"/>
                <a:gd name="T49" fmla="*/ 263 h 647"/>
                <a:gd name="T50" fmla="*/ 334 w 954"/>
                <a:gd name="T51" fmla="*/ 239 h 647"/>
                <a:gd name="T52" fmla="*/ 322 w 954"/>
                <a:gd name="T53" fmla="*/ 219 h 647"/>
                <a:gd name="T54" fmla="*/ 378 w 954"/>
                <a:gd name="T55" fmla="*/ 192 h 647"/>
                <a:gd name="T56" fmla="*/ 328 w 954"/>
                <a:gd name="T57" fmla="*/ 174 h 647"/>
                <a:gd name="T58" fmla="*/ 287 w 954"/>
                <a:gd name="T59" fmla="*/ 133 h 647"/>
                <a:gd name="T60" fmla="*/ 302 w 954"/>
                <a:gd name="T61" fmla="*/ 104 h 647"/>
                <a:gd name="T62" fmla="*/ 331 w 954"/>
                <a:gd name="T63" fmla="*/ 83 h 647"/>
                <a:gd name="T64" fmla="*/ 375 w 954"/>
                <a:gd name="T65" fmla="*/ 62 h 647"/>
                <a:gd name="T66" fmla="*/ 405 w 954"/>
                <a:gd name="T67" fmla="*/ 45 h 647"/>
                <a:gd name="T68" fmla="*/ 437 w 954"/>
                <a:gd name="T69" fmla="*/ 27 h 647"/>
                <a:gd name="T70" fmla="*/ 464 w 954"/>
                <a:gd name="T71" fmla="*/ 9 h 647"/>
                <a:gd name="T72" fmla="*/ 493 w 954"/>
                <a:gd name="T73" fmla="*/ 9 h 647"/>
                <a:gd name="T74" fmla="*/ 529 w 954"/>
                <a:gd name="T75" fmla="*/ 15 h 647"/>
                <a:gd name="T76" fmla="*/ 552 w 954"/>
                <a:gd name="T77" fmla="*/ 33 h 647"/>
                <a:gd name="T78" fmla="*/ 543 w 954"/>
                <a:gd name="T79" fmla="*/ 104 h 647"/>
                <a:gd name="T80" fmla="*/ 502 w 954"/>
                <a:gd name="T81" fmla="*/ 148 h 647"/>
                <a:gd name="T82" fmla="*/ 484 w 954"/>
                <a:gd name="T83" fmla="*/ 198 h 647"/>
                <a:gd name="T84" fmla="*/ 467 w 954"/>
                <a:gd name="T85" fmla="*/ 239 h 647"/>
                <a:gd name="T86" fmla="*/ 479 w 954"/>
                <a:gd name="T87" fmla="*/ 281 h 647"/>
                <a:gd name="T88" fmla="*/ 543 w 954"/>
                <a:gd name="T89" fmla="*/ 284 h 647"/>
                <a:gd name="T90" fmla="*/ 520 w 954"/>
                <a:gd name="T91" fmla="*/ 228 h 647"/>
                <a:gd name="T92" fmla="*/ 529 w 954"/>
                <a:gd name="T93" fmla="*/ 163 h 647"/>
                <a:gd name="T94" fmla="*/ 538 w 954"/>
                <a:gd name="T95" fmla="*/ 177 h 647"/>
                <a:gd name="T96" fmla="*/ 573 w 954"/>
                <a:gd name="T97" fmla="*/ 201 h 647"/>
                <a:gd name="T98" fmla="*/ 611 w 954"/>
                <a:gd name="T99" fmla="*/ 198 h 647"/>
                <a:gd name="T100" fmla="*/ 688 w 954"/>
                <a:gd name="T101" fmla="*/ 177 h 647"/>
                <a:gd name="T102" fmla="*/ 703 w 954"/>
                <a:gd name="T103" fmla="*/ 216 h 647"/>
                <a:gd name="T104" fmla="*/ 750 w 954"/>
                <a:gd name="T105" fmla="*/ 195 h 647"/>
                <a:gd name="T106" fmla="*/ 788 w 954"/>
                <a:gd name="T107" fmla="*/ 204 h 647"/>
                <a:gd name="T108" fmla="*/ 839 w 954"/>
                <a:gd name="T109" fmla="*/ 210 h 647"/>
                <a:gd name="T110" fmla="*/ 901 w 954"/>
                <a:gd name="T111" fmla="*/ 254 h 647"/>
                <a:gd name="T112" fmla="*/ 951 w 954"/>
                <a:gd name="T113" fmla="*/ 295 h 647"/>
                <a:gd name="T114" fmla="*/ 862 w 954"/>
                <a:gd name="T115" fmla="*/ 340 h 647"/>
                <a:gd name="T116" fmla="*/ 839 w 954"/>
                <a:gd name="T117" fmla="*/ 378 h 647"/>
                <a:gd name="T118" fmla="*/ 830 w 954"/>
                <a:gd name="T119" fmla="*/ 481 h 647"/>
                <a:gd name="T120" fmla="*/ 747 w 954"/>
                <a:gd name="T121" fmla="*/ 552 h 6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54"/>
                <a:gd name="T184" fmla="*/ 0 h 647"/>
                <a:gd name="T185" fmla="*/ 954 w 954"/>
                <a:gd name="T186" fmla="*/ 647 h 6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54" h="647">
                  <a:moveTo>
                    <a:pt x="724" y="626"/>
                  </a:moveTo>
                  <a:lnTo>
                    <a:pt x="718" y="626"/>
                  </a:lnTo>
                  <a:lnTo>
                    <a:pt x="715" y="626"/>
                  </a:lnTo>
                  <a:lnTo>
                    <a:pt x="709" y="623"/>
                  </a:lnTo>
                  <a:lnTo>
                    <a:pt x="700" y="617"/>
                  </a:lnTo>
                  <a:lnTo>
                    <a:pt x="694" y="614"/>
                  </a:lnTo>
                  <a:lnTo>
                    <a:pt x="694" y="611"/>
                  </a:lnTo>
                  <a:lnTo>
                    <a:pt x="691" y="605"/>
                  </a:lnTo>
                  <a:lnTo>
                    <a:pt x="685" y="599"/>
                  </a:lnTo>
                  <a:lnTo>
                    <a:pt x="679" y="596"/>
                  </a:lnTo>
                  <a:lnTo>
                    <a:pt x="676" y="594"/>
                  </a:lnTo>
                  <a:lnTo>
                    <a:pt x="673" y="591"/>
                  </a:lnTo>
                  <a:lnTo>
                    <a:pt x="667" y="594"/>
                  </a:lnTo>
                  <a:lnTo>
                    <a:pt x="662" y="596"/>
                  </a:lnTo>
                  <a:lnTo>
                    <a:pt x="659" y="599"/>
                  </a:lnTo>
                  <a:lnTo>
                    <a:pt x="656" y="599"/>
                  </a:lnTo>
                  <a:lnTo>
                    <a:pt x="647" y="602"/>
                  </a:lnTo>
                  <a:lnTo>
                    <a:pt x="641" y="602"/>
                  </a:lnTo>
                  <a:lnTo>
                    <a:pt x="638" y="602"/>
                  </a:lnTo>
                  <a:lnTo>
                    <a:pt x="632" y="599"/>
                  </a:lnTo>
                  <a:lnTo>
                    <a:pt x="629" y="596"/>
                  </a:lnTo>
                  <a:lnTo>
                    <a:pt x="623" y="596"/>
                  </a:lnTo>
                  <a:lnTo>
                    <a:pt x="617" y="596"/>
                  </a:lnTo>
                  <a:lnTo>
                    <a:pt x="611" y="599"/>
                  </a:lnTo>
                  <a:lnTo>
                    <a:pt x="605" y="599"/>
                  </a:lnTo>
                  <a:lnTo>
                    <a:pt x="600" y="599"/>
                  </a:lnTo>
                  <a:lnTo>
                    <a:pt x="597" y="596"/>
                  </a:lnTo>
                  <a:lnTo>
                    <a:pt x="597" y="594"/>
                  </a:lnTo>
                  <a:lnTo>
                    <a:pt x="597" y="588"/>
                  </a:lnTo>
                  <a:lnTo>
                    <a:pt x="594" y="585"/>
                  </a:lnTo>
                  <a:lnTo>
                    <a:pt x="588" y="585"/>
                  </a:lnTo>
                  <a:lnTo>
                    <a:pt x="582" y="588"/>
                  </a:lnTo>
                  <a:lnTo>
                    <a:pt x="576" y="588"/>
                  </a:lnTo>
                  <a:lnTo>
                    <a:pt x="573" y="588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5"/>
                  </a:lnTo>
                  <a:lnTo>
                    <a:pt x="561" y="588"/>
                  </a:lnTo>
                  <a:lnTo>
                    <a:pt x="564" y="591"/>
                  </a:lnTo>
                  <a:lnTo>
                    <a:pt x="561" y="591"/>
                  </a:lnTo>
                  <a:lnTo>
                    <a:pt x="555" y="591"/>
                  </a:lnTo>
                  <a:lnTo>
                    <a:pt x="549" y="594"/>
                  </a:lnTo>
                  <a:lnTo>
                    <a:pt x="546" y="596"/>
                  </a:lnTo>
                  <a:lnTo>
                    <a:pt x="541" y="594"/>
                  </a:lnTo>
                  <a:lnTo>
                    <a:pt x="532" y="596"/>
                  </a:lnTo>
                  <a:lnTo>
                    <a:pt x="529" y="602"/>
                  </a:lnTo>
                  <a:lnTo>
                    <a:pt x="532" y="608"/>
                  </a:lnTo>
                  <a:lnTo>
                    <a:pt x="526" y="608"/>
                  </a:lnTo>
                  <a:lnTo>
                    <a:pt x="523" y="608"/>
                  </a:lnTo>
                  <a:lnTo>
                    <a:pt x="517" y="608"/>
                  </a:lnTo>
                  <a:lnTo>
                    <a:pt x="511" y="608"/>
                  </a:lnTo>
                  <a:lnTo>
                    <a:pt x="508" y="608"/>
                  </a:lnTo>
                  <a:lnTo>
                    <a:pt x="496" y="608"/>
                  </a:lnTo>
                  <a:lnTo>
                    <a:pt x="493" y="608"/>
                  </a:lnTo>
                  <a:lnTo>
                    <a:pt x="487" y="605"/>
                  </a:lnTo>
                  <a:lnTo>
                    <a:pt x="484" y="605"/>
                  </a:lnTo>
                  <a:lnTo>
                    <a:pt x="479" y="608"/>
                  </a:lnTo>
                  <a:lnTo>
                    <a:pt x="476" y="605"/>
                  </a:lnTo>
                  <a:lnTo>
                    <a:pt x="476" y="602"/>
                  </a:lnTo>
                  <a:lnTo>
                    <a:pt x="479" y="599"/>
                  </a:lnTo>
                  <a:lnTo>
                    <a:pt x="476" y="594"/>
                  </a:lnTo>
                  <a:lnTo>
                    <a:pt x="473" y="591"/>
                  </a:lnTo>
                  <a:lnTo>
                    <a:pt x="470" y="594"/>
                  </a:lnTo>
                  <a:lnTo>
                    <a:pt x="464" y="596"/>
                  </a:lnTo>
                  <a:lnTo>
                    <a:pt x="461" y="596"/>
                  </a:lnTo>
                  <a:lnTo>
                    <a:pt x="455" y="596"/>
                  </a:lnTo>
                  <a:lnTo>
                    <a:pt x="452" y="599"/>
                  </a:lnTo>
                  <a:lnTo>
                    <a:pt x="446" y="599"/>
                  </a:lnTo>
                  <a:lnTo>
                    <a:pt x="446" y="602"/>
                  </a:lnTo>
                  <a:lnTo>
                    <a:pt x="443" y="605"/>
                  </a:lnTo>
                  <a:lnTo>
                    <a:pt x="431" y="611"/>
                  </a:lnTo>
                  <a:lnTo>
                    <a:pt x="417" y="617"/>
                  </a:lnTo>
                  <a:lnTo>
                    <a:pt x="411" y="614"/>
                  </a:lnTo>
                  <a:lnTo>
                    <a:pt x="405" y="614"/>
                  </a:lnTo>
                  <a:lnTo>
                    <a:pt x="396" y="617"/>
                  </a:lnTo>
                  <a:lnTo>
                    <a:pt x="387" y="614"/>
                  </a:lnTo>
                  <a:lnTo>
                    <a:pt x="384" y="617"/>
                  </a:lnTo>
                  <a:lnTo>
                    <a:pt x="381" y="617"/>
                  </a:lnTo>
                  <a:lnTo>
                    <a:pt x="378" y="614"/>
                  </a:lnTo>
                  <a:lnTo>
                    <a:pt x="372" y="614"/>
                  </a:lnTo>
                  <a:lnTo>
                    <a:pt x="369" y="611"/>
                  </a:lnTo>
                  <a:lnTo>
                    <a:pt x="372" y="608"/>
                  </a:lnTo>
                  <a:lnTo>
                    <a:pt x="369" y="605"/>
                  </a:lnTo>
                  <a:lnTo>
                    <a:pt x="366" y="602"/>
                  </a:lnTo>
                  <a:lnTo>
                    <a:pt x="366" y="599"/>
                  </a:lnTo>
                  <a:lnTo>
                    <a:pt x="369" y="596"/>
                  </a:lnTo>
                  <a:lnTo>
                    <a:pt x="372" y="596"/>
                  </a:lnTo>
                  <a:lnTo>
                    <a:pt x="378" y="599"/>
                  </a:lnTo>
                  <a:lnTo>
                    <a:pt x="384" y="599"/>
                  </a:lnTo>
                  <a:lnTo>
                    <a:pt x="384" y="596"/>
                  </a:lnTo>
                  <a:lnTo>
                    <a:pt x="384" y="594"/>
                  </a:lnTo>
                  <a:lnTo>
                    <a:pt x="381" y="588"/>
                  </a:lnTo>
                  <a:lnTo>
                    <a:pt x="381" y="582"/>
                  </a:lnTo>
                  <a:lnTo>
                    <a:pt x="378" y="576"/>
                  </a:lnTo>
                  <a:lnTo>
                    <a:pt x="369" y="573"/>
                  </a:lnTo>
                  <a:lnTo>
                    <a:pt x="363" y="573"/>
                  </a:lnTo>
                  <a:lnTo>
                    <a:pt x="355" y="573"/>
                  </a:lnTo>
                  <a:lnTo>
                    <a:pt x="349" y="576"/>
                  </a:lnTo>
                  <a:lnTo>
                    <a:pt x="346" y="579"/>
                  </a:lnTo>
                  <a:lnTo>
                    <a:pt x="340" y="579"/>
                  </a:lnTo>
                  <a:lnTo>
                    <a:pt x="337" y="576"/>
                  </a:lnTo>
                  <a:lnTo>
                    <a:pt x="331" y="576"/>
                  </a:lnTo>
                  <a:lnTo>
                    <a:pt x="328" y="576"/>
                  </a:lnTo>
                  <a:lnTo>
                    <a:pt x="322" y="579"/>
                  </a:lnTo>
                  <a:lnTo>
                    <a:pt x="316" y="585"/>
                  </a:lnTo>
                  <a:lnTo>
                    <a:pt x="310" y="588"/>
                  </a:lnTo>
                  <a:lnTo>
                    <a:pt x="304" y="588"/>
                  </a:lnTo>
                  <a:lnTo>
                    <a:pt x="296" y="591"/>
                  </a:lnTo>
                  <a:lnTo>
                    <a:pt x="293" y="596"/>
                  </a:lnTo>
                  <a:lnTo>
                    <a:pt x="290" y="602"/>
                  </a:lnTo>
                  <a:lnTo>
                    <a:pt x="290" y="605"/>
                  </a:lnTo>
                  <a:lnTo>
                    <a:pt x="287" y="611"/>
                  </a:lnTo>
                  <a:lnTo>
                    <a:pt x="281" y="614"/>
                  </a:lnTo>
                  <a:lnTo>
                    <a:pt x="275" y="620"/>
                  </a:lnTo>
                  <a:lnTo>
                    <a:pt x="281" y="623"/>
                  </a:lnTo>
                  <a:lnTo>
                    <a:pt x="284" y="623"/>
                  </a:lnTo>
                  <a:lnTo>
                    <a:pt x="281" y="626"/>
                  </a:lnTo>
                  <a:lnTo>
                    <a:pt x="278" y="629"/>
                  </a:lnTo>
                  <a:lnTo>
                    <a:pt x="275" y="638"/>
                  </a:lnTo>
                  <a:lnTo>
                    <a:pt x="272" y="641"/>
                  </a:lnTo>
                  <a:lnTo>
                    <a:pt x="263" y="641"/>
                  </a:lnTo>
                  <a:lnTo>
                    <a:pt x="257" y="641"/>
                  </a:lnTo>
                  <a:lnTo>
                    <a:pt x="251" y="644"/>
                  </a:lnTo>
                  <a:lnTo>
                    <a:pt x="245" y="647"/>
                  </a:lnTo>
                  <a:lnTo>
                    <a:pt x="242" y="647"/>
                  </a:lnTo>
                  <a:lnTo>
                    <a:pt x="237" y="644"/>
                  </a:lnTo>
                  <a:lnTo>
                    <a:pt x="231" y="644"/>
                  </a:lnTo>
                  <a:lnTo>
                    <a:pt x="225" y="644"/>
                  </a:lnTo>
                  <a:lnTo>
                    <a:pt x="225" y="641"/>
                  </a:lnTo>
                  <a:lnTo>
                    <a:pt x="219" y="638"/>
                  </a:lnTo>
                  <a:lnTo>
                    <a:pt x="216" y="632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25" y="629"/>
                  </a:lnTo>
                  <a:lnTo>
                    <a:pt x="222" y="623"/>
                  </a:lnTo>
                  <a:lnTo>
                    <a:pt x="222" y="620"/>
                  </a:lnTo>
                  <a:lnTo>
                    <a:pt x="219" y="614"/>
                  </a:lnTo>
                  <a:lnTo>
                    <a:pt x="216" y="611"/>
                  </a:lnTo>
                  <a:lnTo>
                    <a:pt x="213" y="611"/>
                  </a:lnTo>
                  <a:lnTo>
                    <a:pt x="207" y="608"/>
                  </a:lnTo>
                  <a:lnTo>
                    <a:pt x="204" y="608"/>
                  </a:lnTo>
                  <a:lnTo>
                    <a:pt x="201" y="608"/>
                  </a:lnTo>
                  <a:lnTo>
                    <a:pt x="195" y="605"/>
                  </a:lnTo>
                  <a:lnTo>
                    <a:pt x="189" y="605"/>
                  </a:lnTo>
                  <a:lnTo>
                    <a:pt x="181" y="608"/>
                  </a:lnTo>
                  <a:lnTo>
                    <a:pt x="175" y="605"/>
                  </a:lnTo>
                  <a:lnTo>
                    <a:pt x="166" y="608"/>
                  </a:lnTo>
                  <a:lnTo>
                    <a:pt x="154" y="605"/>
                  </a:lnTo>
                  <a:lnTo>
                    <a:pt x="139" y="602"/>
                  </a:lnTo>
                  <a:lnTo>
                    <a:pt x="133" y="599"/>
                  </a:lnTo>
                  <a:lnTo>
                    <a:pt x="130" y="599"/>
                  </a:lnTo>
                  <a:lnTo>
                    <a:pt x="124" y="599"/>
                  </a:lnTo>
                  <a:lnTo>
                    <a:pt x="119" y="599"/>
                  </a:lnTo>
                  <a:lnTo>
                    <a:pt x="113" y="596"/>
                  </a:lnTo>
                  <a:lnTo>
                    <a:pt x="107" y="591"/>
                  </a:lnTo>
                  <a:lnTo>
                    <a:pt x="107" y="588"/>
                  </a:lnTo>
                  <a:lnTo>
                    <a:pt x="104" y="582"/>
                  </a:lnTo>
                  <a:lnTo>
                    <a:pt x="101" y="579"/>
                  </a:lnTo>
                  <a:lnTo>
                    <a:pt x="95" y="579"/>
                  </a:lnTo>
                  <a:lnTo>
                    <a:pt x="89" y="576"/>
                  </a:lnTo>
                  <a:lnTo>
                    <a:pt x="86" y="573"/>
                  </a:lnTo>
                  <a:lnTo>
                    <a:pt x="77" y="573"/>
                  </a:lnTo>
                  <a:lnTo>
                    <a:pt x="71" y="573"/>
                  </a:lnTo>
                  <a:lnTo>
                    <a:pt x="54" y="567"/>
                  </a:lnTo>
                  <a:lnTo>
                    <a:pt x="51" y="564"/>
                  </a:lnTo>
                  <a:lnTo>
                    <a:pt x="45" y="558"/>
                  </a:lnTo>
                  <a:lnTo>
                    <a:pt x="48" y="546"/>
                  </a:lnTo>
                  <a:lnTo>
                    <a:pt x="51" y="540"/>
                  </a:lnTo>
                  <a:lnTo>
                    <a:pt x="45" y="532"/>
                  </a:lnTo>
                  <a:lnTo>
                    <a:pt x="42" y="526"/>
                  </a:lnTo>
                  <a:lnTo>
                    <a:pt x="39" y="526"/>
                  </a:lnTo>
                  <a:lnTo>
                    <a:pt x="36" y="526"/>
                  </a:lnTo>
                  <a:lnTo>
                    <a:pt x="36" y="529"/>
                  </a:lnTo>
                  <a:lnTo>
                    <a:pt x="33" y="529"/>
                  </a:lnTo>
                  <a:lnTo>
                    <a:pt x="33" y="532"/>
                  </a:lnTo>
                  <a:lnTo>
                    <a:pt x="30" y="532"/>
                  </a:lnTo>
                  <a:lnTo>
                    <a:pt x="27" y="532"/>
                  </a:lnTo>
                  <a:lnTo>
                    <a:pt x="27" y="534"/>
                  </a:lnTo>
                  <a:lnTo>
                    <a:pt x="24" y="534"/>
                  </a:lnTo>
                  <a:lnTo>
                    <a:pt x="21" y="534"/>
                  </a:lnTo>
                  <a:lnTo>
                    <a:pt x="18" y="534"/>
                  </a:lnTo>
                  <a:lnTo>
                    <a:pt x="15" y="534"/>
                  </a:lnTo>
                  <a:lnTo>
                    <a:pt x="12" y="532"/>
                  </a:lnTo>
                  <a:lnTo>
                    <a:pt x="9" y="532"/>
                  </a:lnTo>
                  <a:lnTo>
                    <a:pt x="6" y="526"/>
                  </a:lnTo>
                  <a:lnTo>
                    <a:pt x="9" y="520"/>
                  </a:lnTo>
                  <a:lnTo>
                    <a:pt x="6" y="514"/>
                  </a:lnTo>
                  <a:lnTo>
                    <a:pt x="6" y="511"/>
                  </a:lnTo>
                  <a:lnTo>
                    <a:pt x="6" y="505"/>
                  </a:lnTo>
                  <a:lnTo>
                    <a:pt x="6" y="499"/>
                  </a:lnTo>
                  <a:lnTo>
                    <a:pt x="3" y="499"/>
                  </a:lnTo>
                  <a:lnTo>
                    <a:pt x="3" y="496"/>
                  </a:lnTo>
                  <a:lnTo>
                    <a:pt x="3" y="490"/>
                  </a:lnTo>
                  <a:lnTo>
                    <a:pt x="6" y="484"/>
                  </a:lnTo>
                  <a:lnTo>
                    <a:pt x="18" y="487"/>
                  </a:lnTo>
                  <a:lnTo>
                    <a:pt x="21" y="487"/>
                  </a:lnTo>
                  <a:lnTo>
                    <a:pt x="27" y="484"/>
                  </a:lnTo>
                  <a:lnTo>
                    <a:pt x="24" y="478"/>
                  </a:lnTo>
                  <a:lnTo>
                    <a:pt x="18" y="478"/>
                  </a:lnTo>
                  <a:lnTo>
                    <a:pt x="12" y="478"/>
                  </a:lnTo>
                  <a:lnTo>
                    <a:pt x="9" y="478"/>
                  </a:lnTo>
                  <a:lnTo>
                    <a:pt x="9" y="473"/>
                  </a:lnTo>
                  <a:lnTo>
                    <a:pt x="3" y="470"/>
                  </a:lnTo>
                  <a:lnTo>
                    <a:pt x="0" y="470"/>
                  </a:lnTo>
                  <a:lnTo>
                    <a:pt x="0" y="464"/>
                  </a:lnTo>
                  <a:lnTo>
                    <a:pt x="6" y="467"/>
                  </a:lnTo>
                  <a:lnTo>
                    <a:pt x="12" y="470"/>
                  </a:lnTo>
                  <a:lnTo>
                    <a:pt x="15" y="467"/>
                  </a:lnTo>
                  <a:lnTo>
                    <a:pt x="21" y="461"/>
                  </a:lnTo>
                  <a:lnTo>
                    <a:pt x="24" y="458"/>
                  </a:lnTo>
                  <a:lnTo>
                    <a:pt x="30" y="455"/>
                  </a:lnTo>
                  <a:lnTo>
                    <a:pt x="36" y="458"/>
                  </a:lnTo>
                  <a:lnTo>
                    <a:pt x="36" y="455"/>
                  </a:lnTo>
                  <a:lnTo>
                    <a:pt x="42" y="446"/>
                  </a:lnTo>
                  <a:lnTo>
                    <a:pt x="54" y="431"/>
                  </a:lnTo>
                  <a:lnTo>
                    <a:pt x="45" y="425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6" y="419"/>
                  </a:lnTo>
                  <a:lnTo>
                    <a:pt x="42" y="416"/>
                  </a:lnTo>
                  <a:lnTo>
                    <a:pt x="36" y="408"/>
                  </a:lnTo>
                  <a:lnTo>
                    <a:pt x="39" y="408"/>
                  </a:lnTo>
                  <a:lnTo>
                    <a:pt x="42" y="405"/>
                  </a:lnTo>
                  <a:lnTo>
                    <a:pt x="48" y="408"/>
                  </a:lnTo>
                  <a:lnTo>
                    <a:pt x="54" y="408"/>
                  </a:lnTo>
                  <a:lnTo>
                    <a:pt x="57" y="408"/>
                  </a:lnTo>
                  <a:lnTo>
                    <a:pt x="62" y="405"/>
                  </a:lnTo>
                  <a:lnTo>
                    <a:pt x="74" y="399"/>
                  </a:lnTo>
                  <a:lnTo>
                    <a:pt x="77" y="399"/>
                  </a:lnTo>
                  <a:lnTo>
                    <a:pt x="83" y="396"/>
                  </a:lnTo>
                  <a:lnTo>
                    <a:pt x="86" y="393"/>
                  </a:lnTo>
                  <a:lnTo>
                    <a:pt x="80" y="393"/>
                  </a:lnTo>
                  <a:lnTo>
                    <a:pt x="77" y="390"/>
                  </a:lnTo>
                  <a:lnTo>
                    <a:pt x="74" y="390"/>
                  </a:lnTo>
                  <a:lnTo>
                    <a:pt x="71" y="390"/>
                  </a:lnTo>
                  <a:lnTo>
                    <a:pt x="68" y="387"/>
                  </a:lnTo>
                  <a:lnTo>
                    <a:pt x="65" y="384"/>
                  </a:lnTo>
                  <a:lnTo>
                    <a:pt x="60" y="384"/>
                  </a:lnTo>
                  <a:lnTo>
                    <a:pt x="60" y="378"/>
                  </a:lnTo>
                  <a:lnTo>
                    <a:pt x="65" y="372"/>
                  </a:lnTo>
                  <a:lnTo>
                    <a:pt x="68" y="369"/>
                  </a:lnTo>
                  <a:lnTo>
                    <a:pt x="71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6" y="360"/>
                  </a:lnTo>
                  <a:lnTo>
                    <a:pt x="92" y="357"/>
                  </a:lnTo>
                  <a:lnTo>
                    <a:pt x="101" y="352"/>
                  </a:lnTo>
                  <a:lnTo>
                    <a:pt x="104" y="349"/>
                  </a:lnTo>
                  <a:lnTo>
                    <a:pt x="104" y="343"/>
                  </a:lnTo>
                  <a:lnTo>
                    <a:pt x="107" y="340"/>
                  </a:lnTo>
                  <a:lnTo>
                    <a:pt x="110" y="334"/>
                  </a:lnTo>
                  <a:lnTo>
                    <a:pt x="110" y="328"/>
                  </a:lnTo>
                  <a:lnTo>
                    <a:pt x="110" y="322"/>
                  </a:lnTo>
                  <a:lnTo>
                    <a:pt x="113" y="316"/>
                  </a:lnTo>
                  <a:lnTo>
                    <a:pt x="113" y="310"/>
                  </a:lnTo>
                  <a:lnTo>
                    <a:pt x="113" y="304"/>
                  </a:lnTo>
                  <a:lnTo>
                    <a:pt x="107" y="298"/>
                  </a:lnTo>
                  <a:lnTo>
                    <a:pt x="107" y="293"/>
                  </a:lnTo>
                  <a:lnTo>
                    <a:pt x="107" y="287"/>
                  </a:lnTo>
                  <a:lnTo>
                    <a:pt x="104" y="284"/>
                  </a:lnTo>
                  <a:lnTo>
                    <a:pt x="98" y="281"/>
                  </a:lnTo>
                  <a:lnTo>
                    <a:pt x="92" y="281"/>
                  </a:lnTo>
                  <a:lnTo>
                    <a:pt x="92" y="278"/>
                  </a:lnTo>
                  <a:lnTo>
                    <a:pt x="95" y="275"/>
                  </a:lnTo>
                  <a:lnTo>
                    <a:pt x="98" y="269"/>
                  </a:lnTo>
                  <a:lnTo>
                    <a:pt x="101" y="266"/>
                  </a:lnTo>
                  <a:lnTo>
                    <a:pt x="101" y="260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48"/>
                  </a:lnTo>
                  <a:lnTo>
                    <a:pt x="95" y="242"/>
                  </a:lnTo>
                  <a:lnTo>
                    <a:pt x="98" y="242"/>
                  </a:lnTo>
                  <a:lnTo>
                    <a:pt x="98" y="239"/>
                  </a:lnTo>
                  <a:lnTo>
                    <a:pt x="98" y="236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8" y="225"/>
                  </a:lnTo>
                  <a:lnTo>
                    <a:pt x="101" y="222"/>
                  </a:lnTo>
                  <a:lnTo>
                    <a:pt x="104" y="231"/>
                  </a:lnTo>
                  <a:lnTo>
                    <a:pt x="104" y="236"/>
                  </a:lnTo>
                  <a:lnTo>
                    <a:pt x="107" y="239"/>
                  </a:lnTo>
                  <a:lnTo>
                    <a:pt x="116" y="236"/>
                  </a:lnTo>
                  <a:lnTo>
                    <a:pt x="119" y="234"/>
                  </a:lnTo>
                  <a:lnTo>
                    <a:pt x="121" y="234"/>
                  </a:lnTo>
                  <a:lnTo>
                    <a:pt x="119" y="225"/>
                  </a:lnTo>
                  <a:lnTo>
                    <a:pt x="116" y="225"/>
                  </a:lnTo>
                  <a:lnTo>
                    <a:pt x="104" y="222"/>
                  </a:lnTo>
                  <a:lnTo>
                    <a:pt x="104" y="219"/>
                  </a:lnTo>
                  <a:lnTo>
                    <a:pt x="104" y="216"/>
                  </a:lnTo>
                  <a:lnTo>
                    <a:pt x="104" y="210"/>
                  </a:lnTo>
                  <a:lnTo>
                    <a:pt x="104" y="207"/>
                  </a:lnTo>
                  <a:lnTo>
                    <a:pt x="107" y="204"/>
                  </a:lnTo>
                  <a:lnTo>
                    <a:pt x="113" y="207"/>
                  </a:lnTo>
                  <a:lnTo>
                    <a:pt x="116" y="210"/>
                  </a:lnTo>
                  <a:lnTo>
                    <a:pt x="119" y="213"/>
                  </a:lnTo>
                  <a:lnTo>
                    <a:pt x="124" y="216"/>
                  </a:lnTo>
                  <a:lnTo>
                    <a:pt x="130" y="213"/>
                  </a:lnTo>
                  <a:lnTo>
                    <a:pt x="133" y="213"/>
                  </a:lnTo>
                  <a:lnTo>
                    <a:pt x="136" y="207"/>
                  </a:lnTo>
                  <a:lnTo>
                    <a:pt x="136" y="204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5" y="195"/>
                  </a:lnTo>
                  <a:lnTo>
                    <a:pt x="148" y="195"/>
                  </a:lnTo>
                  <a:lnTo>
                    <a:pt x="154" y="192"/>
                  </a:lnTo>
                  <a:lnTo>
                    <a:pt x="160" y="192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204"/>
                  </a:lnTo>
                  <a:lnTo>
                    <a:pt x="160" y="207"/>
                  </a:lnTo>
                  <a:lnTo>
                    <a:pt x="157" y="207"/>
                  </a:lnTo>
                  <a:lnTo>
                    <a:pt x="157" y="201"/>
                  </a:lnTo>
                  <a:lnTo>
                    <a:pt x="154" y="201"/>
                  </a:lnTo>
                  <a:lnTo>
                    <a:pt x="154" y="204"/>
                  </a:lnTo>
                  <a:lnTo>
                    <a:pt x="157" y="210"/>
                  </a:lnTo>
                  <a:lnTo>
                    <a:pt x="163" y="213"/>
                  </a:lnTo>
                  <a:lnTo>
                    <a:pt x="169" y="210"/>
                  </a:lnTo>
                  <a:lnTo>
                    <a:pt x="169" y="216"/>
                  </a:lnTo>
                  <a:lnTo>
                    <a:pt x="163" y="216"/>
                  </a:lnTo>
                  <a:lnTo>
                    <a:pt x="160" y="219"/>
                  </a:lnTo>
                  <a:lnTo>
                    <a:pt x="154" y="216"/>
                  </a:lnTo>
                  <a:lnTo>
                    <a:pt x="151" y="213"/>
                  </a:lnTo>
                  <a:lnTo>
                    <a:pt x="145" y="210"/>
                  </a:lnTo>
                  <a:lnTo>
                    <a:pt x="148" y="213"/>
                  </a:lnTo>
                  <a:lnTo>
                    <a:pt x="151" y="219"/>
                  </a:lnTo>
                  <a:lnTo>
                    <a:pt x="148" y="222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8" y="231"/>
                  </a:lnTo>
                  <a:lnTo>
                    <a:pt x="154" y="228"/>
                  </a:lnTo>
                  <a:lnTo>
                    <a:pt x="163" y="231"/>
                  </a:lnTo>
                  <a:lnTo>
                    <a:pt x="172" y="231"/>
                  </a:lnTo>
                  <a:lnTo>
                    <a:pt x="178" y="231"/>
                  </a:lnTo>
                  <a:lnTo>
                    <a:pt x="183" y="231"/>
                  </a:lnTo>
                  <a:lnTo>
                    <a:pt x="186" y="234"/>
                  </a:lnTo>
                  <a:lnTo>
                    <a:pt x="189" y="234"/>
                  </a:lnTo>
                  <a:lnTo>
                    <a:pt x="195" y="231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13" y="234"/>
                  </a:lnTo>
                  <a:lnTo>
                    <a:pt x="213" y="236"/>
                  </a:lnTo>
                  <a:lnTo>
                    <a:pt x="213" y="239"/>
                  </a:lnTo>
                  <a:lnTo>
                    <a:pt x="210" y="245"/>
                  </a:lnTo>
                  <a:lnTo>
                    <a:pt x="216" y="245"/>
                  </a:lnTo>
                  <a:lnTo>
                    <a:pt x="216" y="248"/>
                  </a:lnTo>
                  <a:lnTo>
                    <a:pt x="219" y="251"/>
                  </a:lnTo>
                  <a:lnTo>
                    <a:pt x="219" y="254"/>
                  </a:lnTo>
                  <a:lnTo>
                    <a:pt x="216" y="260"/>
                  </a:lnTo>
                  <a:lnTo>
                    <a:pt x="216" y="263"/>
                  </a:lnTo>
                  <a:lnTo>
                    <a:pt x="210" y="263"/>
                  </a:lnTo>
                  <a:lnTo>
                    <a:pt x="207" y="260"/>
                  </a:lnTo>
                  <a:lnTo>
                    <a:pt x="204" y="260"/>
                  </a:lnTo>
                  <a:lnTo>
                    <a:pt x="201" y="266"/>
                  </a:lnTo>
                  <a:lnTo>
                    <a:pt x="201" y="272"/>
                  </a:lnTo>
                  <a:lnTo>
                    <a:pt x="204" y="278"/>
                  </a:lnTo>
                  <a:lnTo>
                    <a:pt x="207" y="278"/>
                  </a:lnTo>
                  <a:lnTo>
                    <a:pt x="204" y="287"/>
                  </a:lnTo>
                  <a:lnTo>
                    <a:pt x="204" y="290"/>
                  </a:lnTo>
                  <a:lnTo>
                    <a:pt x="201" y="295"/>
                  </a:lnTo>
                  <a:lnTo>
                    <a:pt x="201" y="298"/>
                  </a:lnTo>
                  <a:lnTo>
                    <a:pt x="204" y="301"/>
                  </a:lnTo>
                  <a:lnTo>
                    <a:pt x="207" y="304"/>
                  </a:lnTo>
                  <a:lnTo>
                    <a:pt x="204" y="307"/>
                  </a:lnTo>
                  <a:lnTo>
                    <a:pt x="201" y="310"/>
                  </a:lnTo>
                  <a:lnTo>
                    <a:pt x="189" y="313"/>
                  </a:lnTo>
                  <a:lnTo>
                    <a:pt x="186" y="313"/>
                  </a:lnTo>
                  <a:lnTo>
                    <a:pt x="181" y="313"/>
                  </a:lnTo>
                  <a:lnTo>
                    <a:pt x="175" y="313"/>
                  </a:lnTo>
                  <a:lnTo>
                    <a:pt x="172" y="310"/>
                  </a:lnTo>
                  <a:lnTo>
                    <a:pt x="172" y="313"/>
                  </a:lnTo>
                  <a:lnTo>
                    <a:pt x="169" y="313"/>
                  </a:lnTo>
                  <a:lnTo>
                    <a:pt x="169" y="316"/>
                  </a:lnTo>
                  <a:lnTo>
                    <a:pt x="166" y="322"/>
                  </a:lnTo>
                  <a:lnTo>
                    <a:pt x="175" y="328"/>
                  </a:lnTo>
                  <a:lnTo>
                    <a:pt x="178" y="331"/>
                  </a:lnTo>
                  <a:lnTo>
                    <a:pt x="183" y="334"/>
                  </a:lnTo>
                  <a:lnTo>
                    <a:pt x="186" y="334"/>
                  </a:lnTo>
                  <a:lnTo>
                    <a:pt x="189" y="337"/>
                  </a:lnTo>
                  <a:lnTo>
                    <a:pt x="192" y="334"/>
                  </a:lnTo>
                  <a:lnTo>
                    <a:pt x="192" y="331"/>
                  </a:lnTo>
                  <a:lnTo>
                    <a:pt x="195" y="328"/>
                  </a:lnTo>
                  <a:lnTo>
                    <a:pt x="198" y="331"/>
                  </a:lnTo>
                  <a:lnTo>
                    <a:pt x="204" y="331"/>
                  </a:lnTo>
                  <a:lnTo>
                    <a:pt x="207" y="331"/>
                  </a:lnTo>
                  <a:lnTo>
                    <a:pt x="213" y="331"/>
                  </a:lnTo>
                  <a:lnTo>
                    <a:pt x="219" y="328"/>
                  </a:lnTo>
                  <a:lnTo>
                    <a:pt x="222" y="325"/>
                  </a:lnTo>
                  <a:lnTo>
                    <a:pt x="222" y="319"/>
                  </a:lnTo>
                  <a:lnTo>
                    <a:pt x="225" y="313"/>
                  </a:lnTo>
                  <a:lnTo>
                    <a:pt x="231" y="310"/>
                  </a:lnTo>
                  <a:lnTo>
                    <a:pt x="237" y="307"/>
                  </a:lnTo>
                  <a:lnTo>
                    <a:pt x="240" y="298"/>
                  </a:lnTo>
                  <a:lnTo>
                    <a:pt x="240" y="290"/>
                  </a:lnTo>
                  <a:lnTo>
                    <a:pt x="242" y="284"/>
                  </a:lnTo>
                  <a:lnTo>
                    <a:pt x="245" y="281"/>
                  </a:lnTo>
                  <a:lnTo>
                    <a:pt x="248" y="287"/>
                  </a:lnTo>
                  <a:lnTo>
                    <a:pt x="248" y="293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60" y="293"/>
                  </a:lnTo>
                  <a:lnTo>
                    <a:pt x="263" y="295"/>
                  </a:lnTo>
                  <a:lnTo>
                    <a:pt x="269" y="295"/>
                  </a:lnTo>
                  <a:lnTo>
                    <a:pt x="275" y="295"/>
                  </a:lnTo>
                  <a:lnTo>
                    <a:pt x="278" y="301"/>
                  </a:lnTo>
                  <a:lnTo>
                    <a:pt x="281" y="301"/>
                  </a:lnTo>
                  <a:lnTo>
                    <a:pt x="284" y="301"/>
                  </a:lnTo>
                  <a:lnTo>
                    <a:pt x="287" y="295"/>
                  </a:lnTo>
                  <a:lnTo>
                    <a:pt x="293" y="290"/>
                  </a:lnTo>
                  <a:lnTo>
                    <a:pt x="296" y="290"/>
                  </a:lnTo>
                  <a:lnTo>
                    <a:pt x="299" y="295"/>
                  </a:lnTo>
                  <a:lnTo>
                    <a:pt x="299" y="301"/>
                  </a:lnTo>
                  <a:lnTo>
                    <a:pt x="304" y="301"/>
                  </a:lnTo>
                  <a:lnTo>
                    <a:pt x="310" y="307"/>
                  </a:lnTo>
                  <a:lnTo>
                    <a:pt x="316" y="307"/>
                  </a:lnTo>
                  <a:lnTo>
                    <a:pt x="319" y="307"/>
                  </a:lnTo>
                  <a:lnTo>
                    <a:pt x="322" y="304"/>
                  </a:lnTo>
                  <a:lnTo>
                    <a:pt x="325" y="298"/>
                  </a:lnTo>
                  <a:lnTo>
                    <a:pt x="322" y="295"/>
                  </a:lnTo>
                  <a:lnTo>
                    <a:pt x="319" y="290"/>
                  </a:lnTo>
                  <a:lnTo>
                    <a:pt x="313" y="284"/>
                  </a:lnTo>
                  <a:lnTo>
                    <a:pt x="316" y="278"/>
                  </a:lnTo>
                  <a:lnTo>
                    <a:pt x="316" y="272"/>
                  </a:lnTo>
                  <a:lnTo>
                    <a:pt x="316" y="266"/>
                  </a:lnTo>
                  <a:lnTo>
                    <a:pt x="313" y="263"/>
                  </a:lnTo>
                  <a:lnTo>
                    <a:pt x="313" y="260"/>
                  </a:lnTo>
                  <a:lnTo>
                    <a:pt x="319" y="260"/>
                  </a:lnTo>
                  <a:lnTo>
                    <a:pt x="322" y="260"/>
                  </a:lnTo>
                  <a:lnTo>
                    <a:pt x="322" y="263"/>
                  </a:lnTo>
                  <a:lnTo>
                    <a:pt x="322" y="266"/>
                  </a:lnTo>
                  <a:lnTo>
                    <a:pt x="328" y="269"/>
                  </a:lnTo>
                  <a:lnTo>
                    <a:pt x="331" y="269"/>
                  </a:lnTo>
                  <a:lnTo>
                    <a:pt x="334" y="266"/>
                  </a:lnTo>
                  <a:lnTo>
                    <a:pt x="340" y="260"/>
                  </a:lnTo>
                  <a:lnTo>
                    <a:pt x="340" y="257"/>
                  </a:lnTo>
                  <a:lnTo>
                    <a:pt x="340" y="254"/>
                  </a:lnTo>
                  <a:lnTo>
                    <a:pt x="340" y="251"/>
                  </a:lnTo>
                  <a:lnTo>
                    <a:pt x="340" y="248"/>
                  </a:lnTo>
                  <a:lnTo>
                    <a:pt x="340" y="245"/>
                  </a:lnTo>
                  <a:lnTo>
                    <a:pt x="337" y="242"/>
                  </a:lnTo>
                  <a:lnTo>
                    <a:pt x="337" y="239"/>
                  </a:lnTo>
                  <a:lnTo>
                    <a:pt x="334" y="239"/>
                  </a:lnTo>
                  <a:lnTo>
                    <a:pt x="334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5" y="236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19" y="236"/>
                  </a:lnTo>
                  <a:lnTo>
                    <a:pt x="319" y="234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3" y="228"/>
                  </a:lnTo>
                  <a:lnTo>
                    <a:pt x="319" y="228"/>
                  </a:lnTo>
                  <a:lnTo>
                    <a:pt x="322" y="228"/>
                  </a:lnTo>
                  <a:lnTo>
                    <a:pt x="325" y="225"/>
                  </a:lnTo>
                  <a:lnTo>
                    <a:pt x="322" y="219"/>
                  </a:lnTo>
                  <a:lnTo>
                    <a:pt x="319" y="213"/>
                  </a:lnTo>
                  <a:lnTo>
                    <a:pt x="319" y="210"/>
                  </a:lnTo>
                  <a:lnTo>
                    <a:pt x="325" y="204"/>
                  </a:lnTo>
                  <a:lnTo>
                    <a:pt x="328" y="204"/>
                  </a:lnTo>
                  <a:lnTo>
                    <a:pt x="331" y="201"/>
                  </a:lnTo>
                  <a:lnTo>
                    <a:pt x="337" y="201"/>
                  </a:lnTo>
                  <a:lnTo>
                    <a:pt x="340" y="201"/>
                  </a:lnTo>
                  <a:lnTo>
                    <a:pt x="346" y="201"/>
                  </a:lnTo>
                  <a:lnTo>
                    <a:pt x="352" y="198"/>
                  </a:lnTo>
                  <a:lnTo>
                    <a:pt x="355" y="198"/>
                  </a:lnTo>
                  <a:lnTo>
                    <a:pt x="358" y="198"/>
                  </a:lnTo>
                  <a:lnTo>
                    <a:pt x="363" y="198"/>
                  </a:lnTo>
                  <a:lnTo>
                    <a:pt x="369" y="198"/>
                  </a:lnTo>
                  <a:lnTo>
                    <a:pt x="372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8" y="192"/>
                  </a:lnTo>
                  <a:lnTo>
                    <a:pt x="381" y="186"/>
                  </a:lnTo>
                  <a:lnTo>
                    <a:pt x="375" y="183"/>
                  </a:lnTo>
                  <a:lnTo>
                    <a:pt x="375" y="177"/>
                  </a:lnTo>
                  <a:lnTo>
                    <a:pt x="375" y="172"/>
                  </a:lnTo>
                  <a:lnTo>
                    <a:pt x="375" y="169"/>
                  </a:lnTo>
                  <a:lnTo>
                    <a:pt x="372" y="163"/>
                  </a:lnTo>
                  <a:lnTo>
                    <a:pt x="366" y="166"/>
                  </a:lnTo>
                  <a:lnTo>
                    <a:pt x="363" y="169"/>
                  </a:lnTo>
                  <a:lnTo>
                    <a:pt x="363" y="174"/>
                  </a:lnTo>
                  <a:lnTo>
                    <a:pt x="358" y="174"/>
                  </a:lnTo>
                  <a:lnTo>
                    <a:pt x="352" y="174"/>
                  </a:lnTo>
                  <a:lnTo>
                    <a:pt x="346" y="172"/>
                  </a:lnTo>
                  <a:lnTo>
                    <a:pt x="343" y="174"/>
                  </a:lnTo>
                  <a:lnTo>
                    <a:pt x="337" y="174"/>
                  </a:lnTo>
                  <a:lnTo>
                    <a:pt x="334" y="177"/>
                  </a:lnTo>
                  <a:lnTo>
                    <a:pt x="331" y="174"/>
                  </a:lnTo>
                  <a:lnTo>
                    <a:pt x="328" y="174"/>
                  </a:lnTo>
                  <a:lnTo>
                    <a:pt x="319" y="174"/>
                  </a:lnTo>
                  <a:lnTo>
                    <a:pt x="313" y="172"/>
                  </a:lnTo>
                  <a:lnTo>
                    <a:pt x="310" y="172"/>
                  </a:lnTo>
                  <a:lnTo>
                    <a:pt x="307" y="172"/>
                  </a:lnTo>
                  <a:lnTo>
                    <a:pt x="304" y="169"/>
                  </a:lnTo>
                  <a:lnTo>
                    <a:pt x="296" y="160"/>
                  </a:lnTo>
                  <a:lnTo>
                    <a:pt x="296" y="157"/>
                  </a:lnTo>
                  <a:lnTo>
                    <a:pt x="293" y="157"/>
                  </a:lnTo>
                  <a:lnTo>
                    <a:pt x="293" y="154"/>
                  </a:lnTo>
                  <a:lnTo>
                    <a:pt x="293" y="151"/>
                  </a:lnTo>
                  <a:lnTo>
                    <a:pt x="290" y="151"/>
                  </a:lnTo>
                  <a:lnTo>
                    <a:pt x="290" y="148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7" y="139"/>
                  </a:lnTo>
                  <a:lnTo>
                    <a:pt x="287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7" y="127"/>
                  </a:lnTo>
                  <a:lnTo>
                    <a:pt x="284" y="127"/>
                  </a:lnTo>
                  <a:lnTo>
                    <a:pt x="284" y="124"/>
                  </a:lnTo>
                  <a:lnTo>
                    <a:pt x="287" y="124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0" y="118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3" y="113"/>
                  </a:lnTo>
                  <a:lnTo>
                    <a:pt x="293" y="110"/>
                  </a:lnTo>
                  <a:lnTo>
                    <a:pt x="296" y="110"/>
                  </a:lnTo>
                  <a:lnTo>
                    <a:pt x="296" y="107"/>
                  </a:lnTo>
                  <a:lnTo>
                    <a:pt x="299" y="107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4" y="104"/>
                  </a:lnTo>
                  <a:lnTo>
                    <a:pt x="307" y="104"/>
                  </a:lnTo>
                  <a:lnTo>
                    <a:pt x="310" y="104"/>
                  </a:lnTo>
                  <a:lnTo>
                    <a:pt x="313" y="104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9" y="101"/>
                  </a:lnTo>
                  <a:lnTo>
                    <a:pt x="319" y="98"/>
                  </a:lnTo>
                  <a:lnTo>
                    <a:pt x="319" y="95"/>
                  </a:lnTo>
                  <a:lnTo>
                    <a:pt x="322" y="95"/>
                  </a:lnTo>
                  <a:lnTo>
                    <a:pt x="322" y="92"/>
                  </a:lnTo>
                  <a:lnTo>
                    <a:pt x="325" y="92"/>
                  </a:lnTo>
                  <a:lnTo>
                    <a:pt x="325" y="89"/>
                  </a:lnTo>
                  <a:lnTo>
                    <a:pt x="328" y="89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1" y="83"/>
                  </a:lnTo>
                  <a:lnTo>
                    <a:pt x="334" y="83"/>
                  </a:lnTo>
                  <a:lnTo>
                    <a:pt x="337" y="83"/>
                  </a:lnTo>
                  <a:lnTo>
                    <a:pt x="340" y="80"/>
                  </a:lnTo>
                  <a:lnTo>
                    <a:pt x="343" y="77"/>
                  </a:lnTo>
                  <a:lnTo>
                    <a:pt x="346" y="74"/>
                  </a:lnTo>
                  <a:lnTo>
                    <a:pt x="349" y="74"/>
                  </a:lnTo>
                  <a:lnTo>
                    <a:pt x="352" y="74"/>
                  </a:lnTo>
                  <a:lnTo>
                    <a:pt x="355" y="71"/>
                  </a:lnTo>
                  <a:lnTo>
                    <a:pt x="355" y="68"/>
                  </a:lnTo>
                  <a:lnTo>
                    <a:pt x="358" y="68"/>
                  </a:lnTo>
                  <a:lnTo>
                    <a:pt x="361" y="71"/>
                  </a:lnTo>
                  <a:lnTo>
                    <a:pt x="363" y="71"/>
                  </a:lnTo>
                  <a:lnTo>
                    <a:pt x="363" y="68"/>
                  </a:lnTo>
                  <a:lnTo>
                    <a:pt x="366" y="68"/>
                  </a:lnTo>
                  <a:lnTo>
                    <a:pt x="369" y="65"/>
                  </a:lnTo>
                  <a:lnTo>
                    <a:pt x="372" y="62"/>
                  </a:lnTo>
                  <a:lnTo>
                    <a:pt x="375" y="62"/>
                  </a:lnTo>
                  <a:lnTo>
                    <a:pt x="375" y="59"/>
                  </a:lnTo>
                  <a:lnTo>
                    <a:pt x="375" y="56"/>
                  </a:lnTo>
                  <a:lnTo>
                    <a:pt x="378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3"/>
                  </a:lnTo>
                  <a:lnTo>
                    <a:pt x="387" y="56"/>
                  </a:lnTo>
                  <a:lnTo>
                    <a:pt x="387" y="53"/>
                  </a:lnTo>
                  <a:lnTo>
                    <a:pt x="387" y="51"/>
                  </a:lnTo>
                  <a:lnTo>
                    <a:pt x="390" y="51"/>
                  </a:lnTo>
                  <a:lnTo>
                    <a:pt x="393" y="51"/>
                  </a:lnTo>
                  <a:lnTo>
                    <a:pt x="396" y="51"/>
                  </a:lnTo>
                  <a:lnTo>
                    <a:pt x="399" y="51"/>
                  </a:lnTo>
                  <a:lnTo>
                    <a:pt x="399" y="48"/>
                  </a:lnTo>
                  <a:lnTo>
                    <a:pt x="402" y="48"/>
                  </a:lnTo>
                  <a:lnTo>
                    <a:pt x="405" y="48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39"/>
                  </a:lnTo>
                  <a:lnTo>
                    <a:pt x="420" y="36"/>
                  </a:lnTo>
                  <a:lnTo>
                    <a:pt x="423" y="36"/>
                  </a:lnTo>
                  <a:lnTo>
                    <a:pt x="425" y="36"/>
                  </a:lnTo>
                  <a:lnTo>
                    <a:pt x="428" y="36"/>
                  </a:lnTo>
                  <a:lnTo>
                    <a:pt x="428" y="33"/>
                  </a:lnTo>
                  <a:lnTo>
                    <a:pt x="431" y="33"/>
                  </a:lnTo>
                  <a:lnTo>
                    <a:pt x="428" y="30"/>
                  </a:lnTo>
                  <a:lnTo>
                    <a:pt x="431" y="30"/>
                  </a:lnTo>
                  <a:lnTo>
                    <a:pt x="434" y="30"/>
                  </a:lnTo>
                  <a:lnTo>
                    <a:pt x="437" y="27"/>
                  </a:lnTo>
                  <a:lnTo>
                    <a:pt x="437" y="24"/>
                  </a:lnTo>
                  <a:lnTo>
                    <a:pt x="440" y="24"/>
                  </a:lnTo>
                  <a:lnTo>
                    <a:pt x="443" y="24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52" y="21"/>
                  </a:lnTo>
                  <a:lnTo>
                    <a:pt x="452" y="24"/>
                  </a:lnTo>
                  <a:lnTo>
                    <a:pt x="455" y="24"/>
                  </a:lnTo>
                  <a:lnTo>
                    <a:pt x="458" y="21"/>
                  </a:lnTo>
                  <a:lnTo>
                    <a:pt x="458" y="18"/>
                  </a:lnTo>
                  <a:lnTo>
                    <a:pt x="458" y="15"/>
                  </a:lnTo>
                  <a:lnTo>
                    <a:pt x="461" y="15"/>
                  </a:lnTo>
                  <a:lnTo>
                    <a:pt x="461" y="12"/>
                  </a:lnTo>
                  <a:lnTo>
                    <a:pt x="458" y="12"/>
                  </a:lnTo>
                  <a:lnTo>
                    <a:pt x="458" y="9"/>
                  </a:lnTo>
                  <a:lnTo>
                    <a:pt x="461" y="9"/>
                  </a:lnTo>
                  <a:lnTo>
                    <a:pt x="464" y="9"/>
                  </a:lnTo>
                  <a:lnTo>
                    <a:pt x="464" y="12"/>
                  </a:lnTo>
                  <a:lnTo>
                    <a:pt x="467" y="12"/>
                  </a:lnTo>
                  <a:lnTo>
                    <a:pt x="467" y="9"/>
                  </a:lnTo>
                  <a:lnTo>
                    <a:pt x="467" y="6"/>
                  </a:lnTo>
                  <a:lnTo>
                    <a:pt x="470" y="6"/>
                  </a:lnTo>
                  <a:lnTo>
                    <a:pt x="473" y="6"/>
                  </a:lnTo>
                  <a:lnTo>
                    <a:pt x="476" y="6"/>
                  </a:lnTo>
                  <a:lnTo>
                    <a:pt x="476" y="3"/>
                  </a:lnTo>
                  <a:lnTo>
                    <a:pt x="479" y="3"/>
                  </a:lnTo>
                  <a:lnTo>
                    <a:pt x="482" y="0"/>
                  </a:lnTo>
                  <a:lnTo>
                    <a:pt x="482" y="3"/>
                  </a:lnTo>
                  <a:lnTo>
                    <a:pt x="484" y="0"/>
                  </a:lnTo>
                  <a:lnTo>
                    <a:pt x="487" y="0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3" y="6"/>
                  </a:lnTo>
                  <a:lnTo>
                    <a:pt x="493" y="9"/>
                  </a:lnTo>
                  <a:lnTo>
                    <a:pt x="496" y="12"/>
                  </a:lnTo>
                  <a:lnTo>
                    <a:pt x="499" y="12"/>
                  </a:lnTo>
                  <a:lnTo>
                    <a:pt x="502" y="12"/>
                  </a:lnTo>
                  <a:lnTo>
                    <a:pt x="505" y="15"/>
                  </a:lnTo>
                  <a:lnTo>
                    <a:pt x="508" y="15"/>
                  </a:lnTo>
                  <a:lnTo>
                    <a:pt x="511" y="15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4" y="15"/>
                  </a:lnTo>
                  <a:lnTo>
                    <a:pt x="517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3" y="9"/>
                  </a:lnTo>
                  <a:lnTo>
                    <a:pt x="523" y="12"/>
                  </a:lnTo>
                  <a:lnTo>
                    <a:pt x="526" y="12"/>
                  </a:lnTo>
                  <a:lnTo>
                    <a:pt x="526" y="15"/>
                  </a:lnTo>
                  <a:lnTo>
                    <a:pt x="529" y="15"/>
                  </a:lnTo>
                  <a:lnTo>
                    <a:pt x="532" y="15"/>
                  </a:lnTo>
                  <a:lnTo>
                    <a:pt x="535" y="18"/>
                  </a:lnTo>
                  <a:lnTo>
                    <a:pt x="535" y="21"/>
                  </a:lnTo>
                  <a:lnTo>
                    <a:pt x="538" y="21"/>
                  </a:lnTo>
                  <a:lnTo>
                    <a:pt x="541" y="21"/>
                  </a:lnTo>
                  <a:lnTo>
                    <a:pt x="543" y="21"/>
                  </a:lnTo>
                  <a:lnTo>
                    <a:pt x="546" y="21"/>
                  </a:lnTo>
                  <a:lnTo>
                    <a:pt x="546" y="24"/>
                  </a:lnTo>
                  <a:lnTo>
                    <a:pt x="543" y="24"/>
                  </a:lnTo>
                  <a:lnTo>
                    <a:pt x="543" y="27"/>
                  </a:lnTo>
                  <a:lnTo>
                    <a:pt x="546" y="27"/>
                  </a:lnTo>
                  <a:lnTo>
                    <a:pt x="549" y="24"/>
                  </a:lnTo>
                  <a:lnTo>
                    <a:pt x="552" y="24"/>
                  </a:lnTo>
                  <a:lnTo>
                    <a:pt x="552" y="27"/>
                  </a:lnTo>
                  <a:lnTo>
                    <a:pt x="549" y="27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9"/>
                  </a:lnTo>
                  <a:lnTo>
                    <a:pt x="558" y="42"/>
                  </a:lnTo>
                  <a:lnTo>
                    <a:pt x="561" y="51"/>
                  </a:lnTo>
                  <a:lnTo>
                    <a:pt x="564" y="51"/>
                  </a:lnTo>
                  <a:lnTo>
                    <a:pt x="564" y="56"/>
                  </a:lnTo>
                  <a:lnTo>
                    <a:pt x="564" y="59"/>
                  </a:lnTo>
                  <a:lnTo>
                    <a:pt x="561" y="65"/>
                  </a:lnTo>
                  <a:lnTo>
                    <a:pt x="558" y="65"/>
                  </a:lnTo>
                  <a:lnTo>
                    <a:pt x="555" y="71"/>
                  </a:lnTo>
                  <a:lnTo>
                    <a:pt x="552" y="77"/>
                  </a:lnTo>
                  <a:lnTo>
                    <a:pt x="549" y="80"/>
                  </a:lnTo>
                  <a:lnTo>
                    <a:pt x="549" y="86"/>
                  </a:lnTo>
                  <a:lnTo>
                    <a:pt x="546" y="89"/>
                  </a:lnTo>
                  <a:lnTo>
                    <a:pt x="546" y="92"/>
                  </a:lnTo>
                  <a:lnTo>
                    <a:pt x="549" y="95"/>
                  </a:lnTo>
                  <a:lnTo>
                    <a:pt x="546" y="101"/>
                  </a:lnTo>
                  <a:lnTo>
                    <a:pt x="543" y="104"/>
                  </a:lnTo>
                  <a:lnTo>
                    <a:pt x="541" y="107"/>
                  </a:lnTo>
                  <a:lnTo>
                    <a:pt x="541" y="110"/>
                  </a:lnTo>
                  <a:lnTo>
                    <a:pt x="538" y="113"/>
                  </a:lnTo>
                  <a:lnTo>
                    <a:pt x="535" y="118"/>
                  </a:lnTo>
                  <a:lnTo>
                    <a:pt x="535" y="121"/>
                  </a:lnTo>
                  <a:lnTo>
                    <a:pt x="532" y="121"/>
                  </a:lnTo>
                  <a:lnTo>
                    <a:pt x="529" y="124"/>
                  </a:lnTo>
                  <a:lnTo>
                    <a:pt x="526" y="127"/>
                  </a:lnTo>
                  <a:lnTo>
                    <a:pt x="526" y="133"/>
                  </a:lnTo>
                  <a:lnTo>
                    <a:pt x="529" y="139"/>
                  </a:lnTo>
                  <a:lnTo>
                    <a:pt x="526" y="142"/>
                  </a:lnTo>
                  <a:lnTo>
                    <a:pt x="523" y="145"/>
                  </a:lnTo>
                  <a:lnTo>
                    <a:pt x="520" y="148"/>
                  </a:lnTo>
                  <a:lnTo>
                    <a:pt x="517" y="148"/>
                  </a:lnTo>
                  <a:lnTo>
                    <a:pt x="511" y="145"/>
                  </a:lnTo>
                  <a:lnTo>
                    <a:pt x="505" y="148"/>
                  </a:lnTo>
                  <a:lnTo>
                    <a:pt x="502" y="148"/>
                  </a:lnTo>
                  <a:lnTo>
                    <a:pt x="496" y="148"/>
                  </a:lnTo>
                  <a:lnTo>
                    <a:pt x="493" y="151"/>
                  </a:lnTo>
                  <a:lnTo>
                    <a:pt x="490" y="154"/>
                  </a:lnTo>
                  <a:lnTo>
                    <a:pt x="487" y="157"/>
                  </a:lnTo>
                  <a:lnTo>
                    <a:pt x="484" y="163"/>
                  </a:lnTo>
                  <a:lnTo>
                    <a:pt x="484" y="166"/>
                  </a:lnTo>
                  <a:lnTo>
                    <a:pt x="479" y="169"/>
                  </a:lnTo>
                  <a:lnTo>
                    <a:pt x="476" y="172"/>
                  </a:lnTo>
                  <a:lnTo>
                    <a:pt x="479" y="180"/>
                  </a:lnTo>
                  <a:lnTo>
                    <a:pt x="482" y="180"/>
                  </a:lnTo>
                  <a:lnTo>
                    <a:pt x="484" y="186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87" y="198"/>
                  </a:lnTo>
                  <a:lnTo>
                    <a:pt x="484" y="198"/>
                  </a:lnTo>
                  <a:lnTo>
                    <a:pt x="482" y="201"/>
                  </a:lnTo>
                  <a:lnTo>
                    <a:pt x="479" y="201"/>
                  </a:lnTo>
                  <a:lnTo>
                    <a:pt x="479" y="207"/>
                  </a:lnTo>
                  <a:lnTo>
                    <a:pt x="479" y="210"/>
                  </a:lnTo>
                  <a:lnTo>
                    <a:pt x="476" y="213"/>
                  </a:lnTo>
                  <a:lnTo>
                    <a:pt x="476" y="216"/>
                  </a:lnTo>
                  <a:lnTo>
                    <a:pt x="473" y="216"/>
                  </a:lnTo>
                  <a:lnTo>
                    <a:pt x="470" y="219"/>
                  </a:lnTo>
                  <a:lnTo>
                    <a:pt x="467" y="219"/>
                  </a:lnTo>
                  <a:lnTo>
                    <a:pt x="467" y="222"/>
                  </a:lnTo>
                  <a:lnTo>
                    <a:pt x="464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1" y="231"/>
                  </a:lnTo>
                  <a:lnTo>
                    <a:pt x="464" y="231"/>
                  </a:lnTo>
                  <a:lnTo>
                    <a:pt x="464" y="234"/>
                  </a:lnTo>
                  <a:lnTo>
                    <a:pt x="467" y="239"/>
                  </a:lnTo>
                  <a:lnTo>
                    <a:pt x="464" y="239"/>
                  </a:lnTo>
                  <a:lnTo>
                    <a:pt x="467" y="242"/>
                  </a:lnTo>
                  <a:lnTo>
                    <a:pt x="467" y="245"/>
                  </a:lnTo>
                  <a:lnTo>
                    <a:pt x="470" y="245"/>
                  </a:lnTo>
                  <a:lnTo>
                    <a:pt x="470" y="248"/>
                  </a:lnTo>
                  <a:lnTo>
                    <a:pt x="470" y="251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0" y="263"/>
                  </a:lnTo>
                  <a:lnTo>
                    <a:pt x="467" y="263"/>
                  </a:lnTo>
                  <a:lnTo>
                    <a:pt x="464" y="263"/>
                  </a:lnTo>
                  <a:lnTo>
                    <a:pt x="464" y="266"/>
                  </a:lnTo>
                  <a:lnTo>
                    <a:pt x="467" y="266"/>
                  </a:lnTo>
                  <a:lnTo>
                    <a:pt x="467" y="269"/>
                  </a:lnTo>
                  <a:lnTo>
                    <a:pt x="470" y="272"/>
                  </a:lnTo>
                  <a:lnTo>
                    <a:pt x="467" y="275"/>
                  </a:lnTo>
                  <a:lnTo>
                    <a:pt x="479" y="281"/>
                  </a:lnTo>
                  <a:lnTo>
                    <a:pt x="479" y="284"/>
                  </a:lnTo>
                  <a:lnTo>
                    <a:pt x="476" y="290"/>
                  </a:lnTo>
                  <a:lnTo>
                    <a:pt x="482" y="293"/>
                  </a:lnTo>
                  <a:lnTo>
                    <a:pt x="490" y="290"/>
                  </a:lnTo>
                  <a:lnTo>
                    <a:pt x="499" y="287"/>
                  </a:lnTo>
                  <a:lnTo>
                    <a:pt x="502" y="287"/>
                  </a:lnTo>
                  <a:lnTo>
                    <a:pt x="505" y="293"/>
                  </a:lnTo>
                  <a:lnTo>
                    <a:pt x="508" y="298"/>
                  </a:lnTo>
                  <a:lnTo>
                    <a:pt x="514" y="301"/>
                  </a:lnTo>
                  <a:lnTo>
                    <a:pt x="520" y="301"/>
                  </a:lnTo>
                  <a:lnTo>
                    <a:pt x="523" y="304"/>
                  </a:lnTo>
                  <a:lnTo>
                    <a:pt x="526" y="304"/>
                  </a:lnTo>
                  <a:lnTo>
                    <a:pt x="532" y="301"/>
                  </a:lnTo>
                  <a:lnTo>
                    <a:pt x="535" y="298"/>
                  </a:lnTo>
                  <a:lnTo>
                    <a:pt x="538" y="295"/>
                  </a:lnTo>
                  <a:lnTo>
                    <a:pt x="541" y="290"/>
                  </a:lnTo>
                  <a:lnTo>
                    <a:pt x="543" y="284"/>
                  </a:lnTo>
                  <a:lnTo>
                    <a:pt x="543" y="281"/>
                  </a:lnTo>
                  <a:lnTo>
                    <a:pt x="541" y="278"/>
                  </a:lnTo>
                  <a:lnTo>
                    <a:pt x="538" y="275"/>
                  </a:lnTo>
                  <a:lnTo>
                    <a:pt x="541" y="269"/>
                  </a:lnTo>
                  <a:lnTo>
                    <a:pt x="543" y="266"/>
                  </a:lnTo>
                  <a:lnTo>
                    <a:pt x="541" y="263"/>
                  </a:lnTo>
                  <a:lnTo>
                    <a:pt x="538" y="260"/>
                  </a:lnTo>
                  <a:lnTo>
                    <a:pt x="538" y="257"/>
                  </a:lnTo>
                  <a:lnTo>
                    <a:pt x="532" y="254"/>
                  </a:lnTo>
                  <a:lnTo>
                    <a:pt x="529" y="257"/>
                  </a:lnTo>
                  <a:lnTo>
                    <a:pt x="523" y="263"/>
                  </a:lnTo>
                  <a:lnTo>
                    <a:pt x="517" y="260"/>
                  </a:lnTo>
                  <a:lnTo>
                    <a:pt x="520" y="257"/>
                  </a:lnTo>
                  <a:lnTo>
                    <a:pt x="523" y="251"/>
                  </a:lnTo>
                  <a:lnTo>
                    <a:pt x="526" y="245"/>
                  </a:lnTo>
                  <a:lnTo>
                    <a:pt x="526" y="236"/>
                  </a:lnTo>
                  <a:lnTo>
                    <a:pt x="520" y="228"/>
                  </a:lnTo>
                  <a:lnTo>
                    <a:pt x="517" y="219"/>
                  </a:lnTo>
                  <a:lnTo>
                    <a:pt x="514" y="210"/>
                  </a:lnTo>
                  <a:lnTo>
                    <a:pt x="511" y="204"/>
                  </a:lnTo>
                  <a:lnTo>
                    <a:pt x="508" y="198"/>
                  </a:lnTo>
                  <a:lnTo>
                    <a:pt x="505" y="192"/>
                  </a:lnTo>
                  <a:lnTo>
                    <a:pt x="502" y="186"/>
                  </a:lnTo>
                  <a:lnTo>
                    <a:pt x="499" y="180"/>
                  </a:lnTo>
                  <a:lnTo>
                    <a:pt x="499" y="174"/>
                  </a:lnTo>
                  <a:lnTo>
                    <a:pt x="505" y="169"/>
                  </a:lnTo>
                  <a:lnTo>
                    <a:pt x="508" y="169"/>
                  </a:lnTo>
                  <a:lnTo>
                    <a:pt x="514" y="172"/>
                  </a:lnTo>
                  <a:lnTo>
                    <a:pt x="517" y="174"/>
                  </a:lnTo>
                  <a:lnTo>
                    <a:pt x="523" y="174"/>
                  </a:lnTo>
                  <a:lnTo>
                    <a:pt x="523" y="172"/>
                  </a:lnTo>
                  <a:lnTo>
                    <a:pt x="523" y="166"/>
                  </a:lnTo>
                  <a:lnTo>
                    <a:pt x="523" y="163"/>
                  </a:lnTo>
                  <a:lnTo>
                    <a:pt x="529" y="163"/>
                  </a:lnTo>
                  <a:lnTo>
                    <a:pt x="532" y="163"/>
                  </a:lnTo>
                  <a:lnTo>
                    <a:pt x="535" y="157"/>
                  </a:lnTo>
                  <a:lnTo>
                    <a:pt x="538" y="151"/>
                  </a:lnTo>
                  <a:lnTo>
                    <a:pt x="541" y="151"/>
                  </a:lnTo>
                  <a:lnTo>
                    <a:pt x="541" y="157"/>
                  </a:lnTo>
                  <a:lnTo>
                    <a:pt x="543" y="160"/>
                  </a:lnTo>
                  <a:lnTo>
                    <a:pt x="541" y="163"/>
                  </a:lnTo>
                  <a:lnTo>
                    <a:pt x="543" y="166"/>
                  </a:lnTo>
                  <a:lnTo>
                    <a:pt x="546" y="172"/>
                  </a:lnTo>
                  <a:lnTo>
                    <a:pt x="543" y="174"/>
                  </a:lnTo>
                  <a:lnTo>
                    <a:pt x="541" y="172"/>
                  </a:lnTo>
                  <a:lnTo>
                    <a:pt x="535" y="172"/>
                  </a:lnTo>
                  <a:lnTo>
                    <a:pt x="532" y="177"/>
                  </a:lnTo>
                  <a:lnTo>
                    <a:pt x="529" y="183"/>
                  </a:lnTo>
                  <a:lnTo>
                    <a:pt x="529" y="186"/>
                  </a:lnTo>
                  <a:lnTo>
                    <a:pt x="532" y="186"/>
                  </a:lnTo>
                  <a:lnTo>
                    <a:pt x="538" y="177"/>
                  </a:lnTo>
                  <a:lnTo>
                    <a:pt x="541" y="177"/>
                  </a:lnTo>
                  <a:lnTo>
                    <a:pt x="543" y="180"/>
                  </a:lnTo>
                  <a:lnTo>
                    <a:pt x="543" y="183"/>
                  </a:lnTo>
                  <a:lnTo>
                    <a:pt x="538" y="186"/>
                  </a:lnTo>
                  <a:lnTo>
                    <a:pt x="535" y="192"/>
                  </a:lnTo>
                  <a:lnTo>
                    <a:pt x="535" y="195"/>
                  </a:lnTo>
                  <a:lnTo>
                    <a:pt x="541" y="192"/>
                  </a:lnTo>
                  <a:lnTo>
                    <a:pt x="546" y="192"/>
                  </a:lnTo>
                  <a:lnTo>
                    <a:pt x="549" y="186"/>
                  </a:lnTo>
                  <a:lnTo>
                    <a:pt x="555" y="189"/>
                  </a:lnTo>
                  <a:lnTo>
                    <a:pt x="555" y="192"/>
                  </a:lnTo>
                  <a:lnTo>
                    <a:pt x="552" y="195"/>
                  </a:lnTo>
                  <a:lnTo>
                    <a:pt x="558" y="198"/>
                  </a:lnTo>
                  <a:lnTo>
                    <a:pt x="561" y="198"/>
                  </a:lnTo>
                  <a:lnTo>
                    <a:pt x="564" y="201"/>
                  </a:lnTo>
                  <a:lnTo>
                    <a:pt x="570" y="201"/>
                  </a:lnTo>
                  <a:lnTo>
                    <a:pt x="573" y="201"/>
                  </a:lnTo>
                  <a:lnTo>
                    <a:pt x="579" y="201"/>
                  </a:lnTo>
                  <a:lnTo>
                    <a:pt x="582" y="195"/>
                  </a:lnTo>
                  <a:lnTo>
                    <a:pt x="579" y="192"/>
                  </a:lnTo>
                  <a:lnTo>
                    <a:pt x="576" y="186"/>
                  </a:lnTo>
                  <a:lnTo>
                    <a:pt x="576" y="180"/>
                  </a:lnTo>
                  <a:lnTo>
                    <a:pt x="579" y="180"/>
                  </a:lnTo>
                  <a:lnTo>
                    <a:pt x="588" y="183"/>
                  </a:lnTo>
                  <a:lnTo>
                    <a:pt x="591" y="186"/>
                  </a:lnTo>
                  <a:lnTo>
                    <a:pt x="600" y="183"/>
                  </a:lnTo>
                  <a:lnTo>
                    <a:pt x="603" y="186"/>
                  </a:lnTo>
                  <a:lnTo>
                    <a:pt x="597" y="192"/>
                  </a:lnTo>
                  <a:lnTo>
                    <a:pt x="591" y="195"/>
                  </a:lnTo>
                  <a:lnTo>
                    <a:pt x="594" y="201"/>
                  </a:lnTo>
                  <a:lnTo>
                    <a:pt x="597" y="204"/>
                  </a:lnTo>
                  <a:lnTo>
                    <a:pt x="603" y="204"/>
                  </a:lnTo>
                  <a:lnTo>
                    <a:pt x="605" y="201"/>
                  </a:lnTo>
                  <a:lnTo>
                    <a:pt x="611" y="198"/>
                  </a:lnTo>
                  <a:lnTo>
                    <a:pt x="617" y="201"/>
                  </a:lnTo>
                  <a:lnTo>
                    <a:pt x="626" y="198"/>
                  </a:lnTo>
                  <a:lnTo>
                    <a:pt x="632" y="204"/>
                  </a:lnTo>
                  <a:lnTo>
                    <a:pt x="638" y="204"/>
                  </a:lnTo>
                  <a:lnTo>
                    <a:pt x="638" y="198"/>
                  </a:lnTo>
                  <a:lnTo>
                    <a:pt x="638" y="195"/>
                  </a:lnTo>
                  <a:lnTo>
                    <a:pt x="641" y="189"/>
                  </a:lnTo>
                  <a:lnTo>
                    <a:pt x="644" y="189"/>
                  </a:lnTo>
                  <a:lnTo>
                    <a:pt x="656" y="183"/>
                  </a:lnTo>
                  <a:lnTo>
                    <a:pt x="662" y="180"/>
                  </a:lnTo>
                  <a:lnTo>
                    <a:pt x="662" y="174"/>
                  </a:lnTo>
                  <a:lnTo>
                    <a:pt x="664" y="174"/>
                  </a:lnTo>
                  <a:lnTo>
                    <a:pt x="673" y="172"/>
                  </a:lnTo>
                  <a:lnTo>
                    <a:pt x="679" y="169"/>
                  </a:lnTo>
                  <a:lnTo>
                    <a:pt x="688" y="169"/>
                  </a:lnTo>
                  <a:lnTo>
                    <a:pt x="688" y="174"/>
                  </a:lnTo>
                  <a:lnTo>
                    <a:pt x="688" y="177"/>
                  </a:lnTo>
                  <a:lnTo>
                    <a:pt x="691" y="183"/>
                  </a:lnTo>
                  <a:lnTo>
                    <a:pt x="697" y="189"/>
                  </a:lnTo>
                  <a:lnTo>
                    <a:pt x="700" y="195"/>
                  </a:lnTo>
                  <a:lnTo>
                    <a:pt x="694" y="195"/>
                  </a:lnTo>
                  <a:lnTo>
                    <a:pt x="697" y="201"/>
                  </a:lnTo>
                  <a:lnTo>
                    <a:pt x="694" y="207"/>
                  </a:lnTo>
                  <a:lnTo>
                    <a:pt x="688" y="207"/>
                  </a:lnTo>
                  <a:lnTo>
                    <a:pt x="685" y="210"/>
                  </a:lnTo>
                  <a:lnTo>
                    <a:pt x="685" y="213"/>
                  </a:lnTo>
                  <a:lnTo>
                    <a:pt x="688" y="213"/>
                  </a:lnTo>
                  <a:lnTo>
                    <a:pt x="694" y="213"/>
                  </a:lnTo>
                  <a:lnTo>
                    <a:pt x="697" y="210"/>
                  </a:lnTo>
                  <a:lnTo>
                    <a:pt x="700" y="207"/>
                  </a:lnTo>
                  <a:lnTo>
                    <a:pt x="703" y="207"/>
                  </a:lnTo>
                  <a:lnTo>
                    <a:pt x="703" y="210"/>
                  </a:lnTo>
                  <a:lnTo>
                    <a:pt x="703" y="213"/>
                  </a:lnTo>
                  <a:lnTo>
                    <a:pt x="703" y="216"/>
                  </a:lnTo>
                  <a:lnTo>
                    <a:pt x="709" y="216"/>
                  </a:lnTo>
                  <a:lnTo>
                    <a:pt x="712" y="213"/>
                  </a:lnTo>
                  <a:lnTo>
                    <a:pt x="709" y="210"/>
                  </a:lnTo>
                  <a:lnTo>
                    <a:pt x="709" y="204"/>
                  </a:lnTo>
                  <a:lnTo>
                    <a:pt x="715" y="207"/>
                  </a:lnTo>
                  <a:lnTo>
                    <a:pt x="718" y="207"/>
                  </a:lnTo>
                  <a:lnTo>
                    <a:pt x="721" y="204"/>
                  </a:lnTo>
                  <a:lnTo>
                    <a:pt x="726" y="207"/>
                  </a:lnTo>
                  <a:lnTo>
                    <a:pt x="729" y="210"/>
                  </a:lnTo>
                  <a:lnTo>
                    <a:pt x="735" y="210"/>
                  </a:lnTo>
                  <a:lnTo>
                    <a:pt x="735" y="207"/>
                  </a:lnTo>
                  <a:lnTo>
                    <a:pt x="732" y="204"/>
                  </a:lnTo>
                  <a:lnTo>
                    <a:pt x="738" y="201"/>
                  </a:lnTo>
                  <a:lnTo>
                    <a:pt x="741" y="201"/>
                  </a:lnTo>
                  <a:lnTo>
                    <a:pt x="744" y="201"/>
                  </a:lnTo>
                  <a:lnTo>
                    <a:pt x="747" y="195"/>
                  </a:lnTo>
                  <a:lnTo>
                    <a:pt x="750" y="195"/>
                  </a:lnTo>
                  <a:lnTo>
                    <a:pt x="753" y="198"/>
                  </a:lnTo>
                  <a:lnTo>
                    <a:pt x="750" y="204"/>
                  </a:lnTo>
                  <a:lnTo>
                    <a:pt x="747" y="210"/>
                  </a:lnTo>
                  <a:lnTo>
                    <a:pt x="747" y="216"/>
                  </a:lnTo>
                  <a:lnTo>
                    <a:pt x="741" y="222"/>
                  </a:lnTo>
                  <a:lnTo>
                    <a:pt x="741" y="225"/>
                  </a:lnTo>
                  <a:lnTo>
                    <a:pt x="744" y="225"/>
                  </a:lnTo>
                  <a:lnTo>
                    <a:pt x="753" y="225"/>
                  </a:lnTo>
                  <a:lnTo>
                    <a:pt x="756" y="222"/>
                  </a:lnTo>
                  <a:lnTo>
                    <a:pt x="762" y="222"/>
                  </a:lnTo>
                  <a:lnTo>
                    <a:pt x="768" y="222"/>
                  </a:lnTo>
                  <a:lnTo>
                    <a:pt x="774" y="225"/>
                  </a:lnTo>
                  <a:lnTo>
                    <a:pt x="780" y="225"/>
                  </a:lnTo>
                  <a:lnTo>
                    <a:pt x="783" y="225"/>
                  </a:lnTo>
                  <a:lnTo>
                    <a:pt x="785" y="216"/>
                  </a:lnTo>
                  <a:lnTo>
                    <a:pt x="785" y="210"/>
                  </a:lnTo>
                  <a:lnTo>
                    <a:pt x="788" y="204"/>
                  </a:lnTo>
                  <a:lnTo>
                    <a:pt x="791" y="201"/>
                  </a:lnTo>
                  <a:lnTo>
                    <a:pt x="794" y="198"/>
                  </a:lnTo>
                  <a:lnTo>
                    <a:pt x="800" y="198"/>
                  </a:lnTo>
                  <a:lnTo>
                    <a:pt x="803" y="201"/>
                  </a:lnTo>
                  <a:lnTo>
                    <a:pt x="806" y="207"/>
                  </a:lnTo>
                  <a:lnTo>
                    <a:pt x="812" y="207"/>
                  </a:lnTo>
                  <a:lnTo>
                    <a:pt x="815" y="204"/>
                  </a:lnTo>
                  <a:lnTo>
                    <a:pt x="812" y="204"/>
                  </a:lnTo>
                  <a:lnTo>
                    <a:pt x="812" y="198"/>
                  </a:lnTo>
                  <a:lnTo>
                    <a:pt x="815" y="195"/>
                  </a:lnTo>
                  <a:lnTo>
                    <a:pt x="818" y="195"/>
                  </a:lnTo>
                  <a:lnTo>
                    <a:pt x="824" y="195"/>
                  </a:lnTo>
                  <a:lnTo>
                    <a:pt x="827" y="198"/>
                  </a:lnTo>
                  <a:lnTo>
                    <a:pt x="827" y="201"/>
                  </a:lnTo>
                  <a:lnTo>
                    <a:pt x="830" y="207"/>
                  </a:lnTo>
                  <a:lnTo>
                    <a:pt x="836" y="210"/>
                  </a:lnTo>
                  <a:lnTo>
                    <a:pt x="839" y="210"/>
                  </a:lnTo>
                  <a:lnTo>
                    <a:pt x="842" y="213"/>
                  </a:lnTo>
                  <a:lnTo>
                    <a:pt x="850" y="213"/>
                  </a:lnTo>
                  <a:lnTo>
                    <a:pt x="853" y="216"/>
                  </a:lnTo>
                  <a:lnTo>
                    <a:pt x="859" y="219"/>
                  </a:lnTo>
                  <a:lnTo>
                    <a:pt x="859" y="225"/>
                  </a:lnTo>
                  <a:lnTo>
                    <a:pt x="862" y="231"/>
                  </a:lnTo>
                  <a:lnTo>
                    <a:pt x="871" y="234"/>
                  </a:lnTo>
                  <a:lnTo>
                    <a:pt x="874" y="234"/>
                  </a:lnTo>
                  <a:lnTo>
                    <a:pt x="883" y="239"/>
                  </a:lnTo>
                  <a:lnTo>
                    <a:pt x="886" y="239"/>
                  </a:lnTo>
                  <a:lnTo>
                    <a:pt x="892" y="239"/>
                  </a:lnTo>
                  <a:lnTo>
                    <a:pt x="895" y="242"/>
                  </a:lnTo>
                  <a:lnTo>
                    <a:pt x="895" y="248"/>
                  </a:lnTo>
                  <a:lnTo>
                    <a:pt x="895" y="251"/>
                  </a:lnTo>
                  <a:lnTo>
                    <a:pt x="901" y="251"/>
                  </a:lnTo>
                  <a:lnTo>
                    <a:pt x="904" y="251"/>
                  </a:lnTo>
                  <a:lnTo>
                    <a:pt x="901" y="254"/>
                  </a:lnTo>
                  <a:lnTo>
                    <a:pt x="901" y="257"/>
                  </a:lnTo>
                  <a:lnTo>
                    <a:pt x="909" y="260"/>
                  </a:lnTo>
                  <a:lnTo>
                    <a:pt x="912" y="260"/>
                  </a:lnTo>
                  <a:lnTo>
                    <a:pt x="912" y="251"/>
                  </a:lnTo>
                  <a:lnTo>
                    <a:pt x="924" y="251"/>
                  </a:lnTo>
                  <a:lnTo>
                    <a:pt x="927" y="251"/>
                  </a:lnTo>
                  <a:lnTo>
                    <a:pt x="936" y="248"/>
                  </a:lnTo>
                  <a:lnTo>
                    <a:pt x="945" y="251"/>
                  </a:lnTo>
                  <a:lnTo>
                    <a:pt x="951" y="257"/>
                  </a:lnTo>
                  <a:lnTo>
                    <a:pt x="951" y="260"/>
                  </a:lnTo>
                  <a:lnTo>
                    <a:pt x="954" y="263"/>
                  </a:lnTo>
                  <a:lnTo>
                    <a:pt x="951" y="266"/>
                  </a:lnTo>
                  <a:lnTo>
                    <a:pt x="945" y="269"/>
                  </a:lnTo>
                  <a:lnTo>
                    <a:pt x="945" y="278"/>
                  </a:lnTo>
                  <a:lnTo>
                    <a:pt x="945" y="284"/>
                  </a:lnTo>
                  <a:lnTo>
                    <a:pt x="951" y="287"/>
                  </a:lnTo>
                  <a:lnTo>
                    <a:pt x="951" y="295"/>
                  </a:lnTo>
                  <a:lnTo>
                    <a:pt x="948" y="304"/>
                  </a:lnTo>
                  <a:lnTo>
                    <a:pt x="945" y="313"/>
                  </a:lnTo>
                  <a:lnTo>
                    <a:pt x="942" y="316"/>
                  </a:lnTo>
                  <a:lnTo>
                    <a:pt x="948" y="319"/>
                  </a:lnTo>
                  <a:lnTo>
                    <a:pt x="951" y="322"/>
                  </a:lnTo>
                  <a:lnTo>
                    <a:pt x="954" y="325"/>
                  </a:lnTo>
                  <a:lnTo>
                    <a:pt x="954" y="334"/>
                  </a:lnTo>
                  <a:lnTo>
                    <a:pt x="939" y="334"/>
                  </a:lnTo>
                  <a:lnTo>
                    <a:pt x="936" y="346"/>
                  </a:lnTo>
                  <a:lnTo>
                    <a:pt x="927" y="346"/>
                  </a:lnTo>
                  <a:lnTo>
                    <a:pt x="924" y="354"/>
                  </a:lnTo>
                  <a:lnTo>
                    <a:pt x="915" y="352"/>
                  </a:lnTo>
                  <a:lnTo>
                    <a:pt x="906" y="349"/>
                  </a:lnTo>
                  <a:lnTo>
                    <a:pt x="895" y="346"/>
                  </a:lnTo>
                  <a:lnTo>
                    <a:pt x="886" y="343"/>
                  </a:lnTo>
                  <a:lnTo>
                    <a:pt x="871" y="340"/>
                  </a:lnTo>
                  <a:lnTo>
                    <a:pt x="862" y="340"/>
                  </a:lnTo>
                  <a:lnTo>
                    <a:pt x="853" y="343"/>
                  </a:lnTo>
                  <a:lnTo>
                    <a:pt x="850" y="343"/>
                  </a:lnTo>
                  <a:lnTo>
                    <a:pt x="845" y="343"/>
                  </a:lnTo>
                  <a:lnTo>
                    <a:pt x="842" y="337"/>
                  </a:lnTo>
                  <a:lnTo>
                    <a:pt x="836" y="334"/>
                  </a:lnTo>
                  <a:lnTo>
                    <a:pt x="830" y="334"/>
                  </a:lnTo>
                  <a:lnTo>
                    <a:pt x="827" y="337"/>
                  </a:lnTo>
                  <a:lnTo>
                    <a:pt x="827" y="346"/>
                  </a:lnTo>
                  <a:lnTo>
                    <a:pt x="836" y="349"/>
                  </a:lnTo>
                  <a:lnTo>
                    <a:pt x="839" y="352"/>
                  </a:lnTo>
                  <a:lnTo>
                    <a:pt x="836" y="357"/>
                  </a:lnTo>
                  <a:lnTo>
                    <a:pt x="830" y="360"/>
                  </a:lnTo>
                  <a:lnTo>
                    <a:pt x="827" y="366"/>
                  </a:lnTo>
                  <a:lnTo>
                    <a:pt x="824" y="369"/>
                  </a:lnTo>
                  <a:lnTo>
                    <a:pt x="827" y="378"/>
                  </a:lnTo>
                  <a:lnTo>
                    <a:pt x="833" y="381"/>
                  </a:lnTo>
                  <a:lnTo>
                    <a:pt x="839" y="378"/>
                  </a:lnTo>
                  <a:lnTo>
                    <a:pt x="845" y="375"/>
                  </a:lnTo>
                  <a:lnTo>
                    <a:pt x="853" y="381"/>
                  </a:lnTo>
                  <a:lnTo>
                    <a:pt x="856" y="384"/>
                  </a:lnTo>
                  <a:lnTo>
                    <a:pt x="862" y="381"/>
                  </a:lnTo>
                  <a:lnTo>
                    <a:pt x="871" y="390"/>
                  </a:lnTo>
                  <a:lnTo>
                    <a:pt x="880" y="399"/>
                  </a:lnTo>
                  <a:lnTo>
                    <a:pt x="886" y="411"/>
                  </a:lnTo>
                  <a:lnTo>
                    <a:pt x="886" y="419"/>
                  </a:lnTo>
                  <a:lnTo>
                    <a:pt x="883" y="425"/>
                  </a:lnTo>
                  <a:lnTo>
                    <a:pt x="874" y="431"/>
                  </a:lnTo>
                  <a:lnTo>
                    <a:pt x="862" y="431"/>
                  </a:lnTo>
                  <a:lnTo>
                    <a:pt x="859" y="437"/>
                  </a:lnTo>
                  <a:lnTo>
                    <a:pt x="856" y="449"/>
                  </a:lnTo>
                  <a:lnTo>
                    <a:pt x="845" y="461"/>
                  </a:lnTo>
                  <a:lnTo>
                    <a:pt x="845" y="473"/>
                  </a:lnTo>
                  <a:lnTo>
                    <a:pt x="836" y="478"/>
                  </a:lnTo>
                  <a:lnTo>
                    <a:pt x="830" y="481"/>
                  </a:lnTo>
                  <a:lnTo>
                    <a:pt x="827" y="487"/>
                  </a:lnTo>
                  <a:lnTo>
                    <a:pt x="815" y="490"/>
                  </a:lnTo>
                  <a:lnTo>
                    <a:pt x="812" y="496"/>
                  </a:lnTo>
                  <a:lnTo>
                    <a:pt x="806" y="493"/>
                  </a:lnTo>
                  <a:lnTo>
                    <a:pt x="800" y="493"/>
                  </a:lnTo>
                  <a:lnTo>
                    <a:pt x="794" y="496"/>
                  </a:lnTo>
                  <a:lnTo>
                    <a:pt x="780" y="496"/>
                  </a:lnTo>
                  <a:lnTo>
                    <a:pt x="777" y="520"/>
                  </a:lnTo>
                  <a:lnTo>
                    <a:pt x="771" y="520"/>
                  </a:lnTo>
                  <a:lnTo>
                    <a:pt x="765" y="526"/>
                  </a:lnTo>
                  <a:lnTo>
                    <a:pt x="765" y="529"/>
                  </a:lnTo>
                  <a:lnTo>
                    <a:pt x="768" y="532"/>
                  </a:lnTo>
                  <a:lnTo>
                    <a:pt x="768" y="540"/>
                  </a:lnTo>
                  <a:lnTo>
                    <a:pt x="762" y="540"/>
                  </a:lnTo>
                  <a:lnTo>
                    <a:pt x="753" y="537"/>
                  </a:lnTo>
                  <a:lnTo>
                    <a:pt x="753" y="552"/>
                  </a:lnTo>
                  <a:lnTo>
                    <a:pt x="747" y="552"/>
                  </a:lnTo>
                  <a:lnTo>
                    <a:pt x="744" y="564"/>
                  </a:lnTo>
                  <a:lnTo>
                    <a:pt x="747" y="570"/>
                  </a:lnTo>
                  <a:lnTo>
                    <a:pt x="747" y="579"/>
                  </a:lnTo>
                  <a:lnTo>
                    <a:pt x="744" y="582"/>
                  </a:lnTo>
                  <a:lnTo>
                    <a:pt x="735" y="585"/>
                  </a:lnTo>
                  <a:lnTo>
                    <a:pt x="738" y="591"/>
                  </a:lnTo>
                  <a:lnTo>
                    <a:pt x="738" y="611"/>
                  </a:lnTo>
                  <a:lnTo>
                    <a:pt x="735" y="626"/>
                  </a:lnTo>
                  <a:lnTo>
                    <a:pt x="732" y="626"/>
                  </a:lnTo>
                  <a:lnTo>
                    <a:pt x="726" y="626"/>
                  </a:lnTo>
                  <a:lnTo>
                    <a:pt x="724" y="62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5" name="Freeform 12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226377" y="1605182"/>
              <a:ext cx="5287" cy="5147"/>
            </a:xfrm>
            <a:custGeom>
              <a:avLst/>
              <a:gdLst>
                <a:gd name="T0" fmla="*/ 6 w 32"/>
                <a:gd name="T1" fmla="*/ 11 h 29"/>
                <a:gd name="T2" fmla="*/ 3 w 32"/>
                <a:gd name="T3" fmla="*/ 9 h 29"/>
                <a:gd name="T4" fmla="*/ 0 w 32"/>
                <a:gd name="T5" fmla="*/ 6 h 29"/>
                <a:gd name="T6" fmla="*/ 0 w 32"/>
                <a:gd name="T7" fmla="*/ 3 h 29"/>
                <a:gd name="T8" fmla="*/ 9 w 32"/>
                <a:gd name="T9" fmla="*/ 0 h 29"/>
                <a:gd name="T10" fmla="*/ 12 w 32"/>
                <a:gd name="T11" fmla="*/ 0 h 29"/>
                <a:gd name="T12" fmla="*/ 15 w 32"/>
                <a:gd name="T13" fmla="*/ 0 h 29"/>
                <a:gd name="T14" fmla="*/ 20 w 32"/>
                <a:gd name="T15" fmla="*/ 0 h 29"/>
                <a:gd name="T16" fmla="*/ 23 w 32"/>
                <a:gd name="T17" fmla="*/ 0 h 29"/>
                <a:gd name="T18" fmla="*/ 29 w 32"/>
                <a:gd name="T19" fmla="*/ 0 h 29"/>
                <a:gd name="T20" fmla="*/ 26 w 32"/>
                <a:gd name="T21" fmla="*/ 3 h 29"/>
                <a:gd name="T22" fmla="*/ 26 w 32"/>
                <a:gd name="T23" fmla="*/ 6 h 29"/>
                <a:gd name="T24" fmla="*/ 23 w 32"/>
                <a:gd name="T25" fmla="*/ 6 h 29"/>
                <a:gd name="T26" fmla="*/ 20 w 32"/>
                <a:gd name="T27" fmla="*/ 9 h 29"/>
                <a:gd name="T28" fmla="*/ 15 w 32"/>
                <a:gd name="T29" fmla="*/ 9 h 29"/>
                <a:gd name="T30" fmla="*/ 15 w 32"/>
                <a:gd name="T31" fmla="*/ 11 h 29"/>
                <a:gd name="T32" fmla="*/ 18 w 32"/>
                <a:gd name="T33" fmla="*/ 14 h 29"/>
                <a:gd name="T34" fmla="*/ 23 w 32"/>
                <a:gd name="T35" fmla="*/ 14 h 29"/>
                <a:gd name="T36" fmla="*/ 26 w 32"/>
                <a:gd name="T37" fmla="*/ 11 h 29"/>
                <a:gd name="T38" fmla="*/ 32 w 32"/>
                <a:gd name="T39" fmla="*/ 14 h 29"/>
                <a:gd name="T40" fmla="*/ 32 w 32"/>
                <a:gd name="T41" fmla="*/ 17 h 29"/>
                <a:gd name="T42" fmla="*/ 32 w 32"/>
                <a:gd name="T43" fmla="*/ 23 h 29"/>
                <a:gd name="T44" fmla="*/ 32 w 32"/>
                <a:gd name="T45" fmla="*/ 26 h 29"/>
                <a:gd name="T46" fmla="*/ 29 w 32"/>
                <a:gd name="T47" fmla="*/ 26 h 29"/>
                <a:gd name="T48" fmla="*/ 26 w 32"/>
                <a:gd name="T49" fmla="*/ 29 h 29"/>
                <a:gd name="T50" fmla="*/ 20 w 32"/>
                <a:gd name="T51" fmla="*/ 29 h 29"/>
                <a:gd name="T52" fmla="*/ 20 w 32"/>
                <a:gd name="T53" fmla="*/ 26 h 29"/>
                <a:gd name="T54" fmla="*/ 15 w 32"/>
                <a:gd name="T55" fmla="*/ 26 h 29"/>
                <a:gd name="T56" fmla="*/ 12 w 32"/>
                <a:gd name="T57" fmla="*/ 26 h 29"/>
                <a:gd name="T58" fmla="*/ 9 w 32"/>
                <a:gd name="T59" fmla="*/ 23 h 29"/>
                <a:gd name="T60" fmla="*/ 6 w 32"/>
                <a:gd name="T61" fmla="*/ 20 h 29"/>
                <a:gd name="T62" fmla="*/ 3 w 32"/>
                <a:gd name="T63" fmla="*/ 20 h 29"/>
                <a:gd name="T64" fmla="*/ 3 w 32"/>
                <a:gd name="T65" fmla="*/ 17 h 29"/>
                <a:gd name="T66" fmla="*/ 6 w 32"/>
                <a:gd name="T67" fmla="*/ 11 h 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"/>
                <a:gd name="T103" fmla="*/ 0 h 29"/>
                <a:gd name="T104" fmla="*/ 32 w 32"/>
                <a:gd name="T105" fmla="*/ 29 h 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" h="29">
                  <a:moveTo>
                    <a:pt x="6" y="11"/>
                  </a:moveTo>
                  <a:lnTo>
                    <a:pt x="3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0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6" name="Freeform 12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279911" y="1741837"/>
              <a:ext cx="82944" cy="101516"/>
            </a:xfrm>
            <a:custGeom>
              <a:avLst/>
              <a:gdLst>
                <a:gd name="T0" fmla="*/ 110 w 502"/>
                <a:gd name="T1" fmla="*/ 525 h 572"/>
                <a:gd name="T2" fmla="*/ 107 w 502"/>
                <a:gd name="T3" fmla="*/ 504 h 572"/>
                <a:gd name="T4" fmla="*/ 107 w 502"/>
                <a:gd name="T5" fmla="*/ 481 h 572"/>
                <a:gd name="T6" fmla="*/ 116 w 502"/>
                <a:gd name="T7" fmla="*/ 460 h 572"/>
                <a:gd name="T8" fmla="*/ 127 w 502"/>
                <a:gd name="T9" fmla="*/ 428 h 572"/>
                <a:gd name="T10" fmla="*/ 113 w 502"/>
                <a:gd name="T11" fmla="*/ 410 h 572"/>
                <a:gd name="T12" fmla="*/ 116 w 502"/>
                <a:gd name="T13" fmla="*/ 378 h 572"/>
                <a:gd name="T14" fmla="*/ 121 w 502"/>
                <a:gd name="T15" fmla="*/ 345 h 572"/>
                <a:gd name="T16" fmla="*/ 95 w 502"/>
                <a:gd name="T17" fmla="*/ 336 h 572"/>
                <a:gd name="T18" fmla="*/ 71 w 502"/>
                <a:gd name="T19" fmla="*/ 327 h 572"/>
                <a:gd name="T20" fmla="*/ 74 w 502"/>
                <a:gd name="T21" fmla="*/ 298 h 572"/>
                <a:gd name="T22" fmla="*/ 65 w 502"/>
                <a:gd name="T23" fmla="*/ 271 h 572"/>
                <a:gd name="T24" fmla="*/ 59 w 502"/>
                <a:gd name="T25" fmla="*/ 254 h 572"/>
                <a:gd name="T26" fmla="*/ 51 w 502"/>
                <a:gd name="T27" fmla="*/ 236 h 572"/>
                <a:gd name="T28" fmla="*/ 33 w 502"/>
                <a:gd name="T29" fmla="*/ 230 h 572"/>
                <a:gd name="T30" fmla="*/ 15 w 502"/>
                <a:gd name="T31" fmla="*/ 212 h 572"/>
                <a:gd name="T32" fmla="*/ 12 w 502"/>
                <a:gd name="T33" fmla="*/ 198 h 572"/>
                <a:gd name="T34" fmla="*/ 42 w 502"/>
                <a:gd name="T35" fmla="*/ 189 h 572"/>
                <a:gd name="T36" fmla="*/ 77 w 502"/>
                <a:gd name="T37" fmla="*/ 192 h 572"/>
                <a:gd name="T38" fmla="*/ 121 w 502"/>
                <a:gd name="T39" fmla="*/ 180 h 572"/>
                <a:gd name="T40" fmla="*/ 160 w 502"/>
                <a:gd name="T41" fmla="*/ 168 h 572"/>
                <a:gd name="T42" fmla="*/ 189 w 502"/>
                <a:gd name="T43" fmla="*/ 150 h 572"/>
                <a:gd name="T44" fmla="*/ 172 w 502"/>
                <a:gd name="T45" fmla="*/ 139 h 572"/>
                <a:gd name="T46" fmla="*/ 157 w 502"/>
                <a:gd name="T47" fmla="*/ 130 h 572"/>
                <a:gd name="T48" fmla="*/ 175 w 502"/>
                <a:gd name="T49" fmla="*/ 85 h 572"/>
                <a:gd name="T50" fmla="*/ 210 w 502"/>
                <a:gd name="T51" fmla="*/ 68 h 572"/>
                <a:gd name="T52" fmla="*/ 240 w 502"/>
                <a:gd name="T53" fmla="*/ 80 h 572"/>
                <a:gd name="T54" fmla="*/ 281 w 502"/>
                <a:gd name="T55" fmla="*/ 88 h 572"/>
                <a:gd name="T56" fmla="*/ 307 w 502"/>
                <a:gd name="T57" fmla="*/ 50 h 572"/>
                <a:gd name="T58" fmla="*/ 343 w 502"/>
                <a:gd name="T59" fmla="*/ 50 h 572"/>
                <a:gd name="T60" fmla="*/ 375 w 502"/>
                <a:gd name="T61" fmla="*/ 44 h 572"/>
                <a:gd name="T62" fmla="*/ 393 w 502"/>
                <a:gd name="T63" fmla="*/ 26 h 572"/>
                <a:gd name="T64" fmla="*/ 420 w 502"/>
                <a:gd name="T65" fmla="*/ 26 h 572"/>
                <a:gd name="T66" fmla="*/ 434 w 502"/>
                <a:gd name="T67" fmla="*/ 26 h 572"/>
                <a:gd name="T68" fmla="*/ 467 w 502"/>
                <a:gd name="T69" fmla="*/ 6 h 572"/>
                <a:gd name="T70" fmla="*/ 493 w 502"/>
                <a:gd name="T71" fmla="*/ 12 h 572"/>
                <a:gd name="T72" fmla="*/ 502 w 502"/>
                <a:gd name="T73" fmla="*/ 35 h 572"/>
                <a:gd name="T74" fmla="*/ 493 w 502"/>
                <a:gd name="T75" fmla="*/ 82 h 572"/>
                <a:gd name="T76" fmla="*/ 461 w 502"/>
                <a:gd name="T77" fmla="*/ 136 h 572"/>
                <a:gd name="T78" fmla="*/ 446 w 502"/>
                <a:gd name="T79" fmla="*/ 159 h 572"/>
                <a:gd name="T80" fmla="*/ 425 w 502"/>
                <a:gd name="T81" fmla="*/ 168 h 572"/>
                <a:gd name="T82" fmla="*/ 437 w 502"/>
                <a:gd name="T83" fmla="*/ 183 h 572"/>
                <a:gd name="T84" fmla="*/ 434 w 502"/>
                <a:gd name="T85" fmla="*/ 224 h 572"/>
                <a:gd name="T86" fmla="*/ 443 w 502"/>
                <a:gd name="T87" fmla="*/ 268 h 572"/>
                <a:gd name="T88" fmla="*/ 431 w 502"/>
                <a:gd name="T89" fmla="*/ 283 h 572"/>
                <a:gd name="T90" fmla="*/ 440 w 502"/>
                <a:gd name="T91" fmla="*/ 330 h 572"/>
                <a:gd name="T92" fmla="*/ 417 w 502"/>
                <a:gd name="T93" fmla="*/ 342 h 572"/>
                <a:gd name="T94" fmla="*/ 414 w 502"/>
                <a:gd name="T95" fmla="*/ 345 h 572"/>
                <a:gd name="T96" fmla="*/ 393 w 502"/>
                <a:gd name="T97" fmla="*/ 345 h 572"/>
                <a:gd name="T98" fmla="*/ 363 w 502"/>
                <a:gd name="T99" fmla="*/ 366 h 572"/>
                <a:gd name="T100" fmla="*/ 337 w 502"/>
                <a:gd name="T101" fmla="*/ 404 h 572"/>
                <a:gd name="T102" fmla="*/ 355 w 502"/>
                <a:gd name="T103" fmla="*/ 448 h 572"/>
                <a:gd name="T104" fmla="*/ 322 w 502"/>
                <a:gd name="T105" fmla="*/ 454 h 572"/>
                <a:gd name="T106" fmla="*/ 278 w 502"/>
                <a:gd name="T107" fmla="*/ 463 h 572"/>
                <a:gd name="T108" fmla="*/ 234 w 502"/>
                <a:gd name="T109" fmla="*/ 487 h 572"/>
                <a:gd name="T110" fmla="*/ 219 w 502"/>
                <a:gd name="T111" fmla="*/ 516 h 572"/>
                <a:gd name="T112" fmla="*/ 207 w 502"/>
                <a:gd name="T113" fmla="*/ 549 h 572"/>
                <a:gd name="T114" fmla="*/ 166 w 502"/>
                <a:gd name="T115" fmla="*/ 563 h 572"/>
                <a:gd name="T116" fmla="*/ 127 w 502"/>
                <a:gd name="T117" fmla="*/ 566 h 5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02"/>
                <a:gd name="T178" fmla="*/ 0 h 572"/>
                <a:gd name="T179" fmla="*/ 502 w 502"/>
                <a:gd name="T180" fmla="*/ 572 h 57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02" h="572">
                  <a:moveTo>
                    <a:pt x="95" y="549"/>
                  </a:moveTo>
                  <a:lnTo>
                    <a:pt x="95" y="546"/>
                  </a:lnTo>
                  <a:lnTo>
                    <a:pt x="98" y="546"/>
                  </a:lnTo>
                  <a:lnTo>
                    <a:pt x="101" y="546"/>
                  </a:lnTo>
                  <a:lnTo>
                    <a:pt x="104" y="543"/>
                  </a:lnTo>
                  <a:lnTo>
                    <a:pt x="104" y="540"/>
                  </a:lnTo>
                  <a:lnTo>
                    <a:pt x="110" y="534"/>
                  </a:lnTo>
                  <a:lnTo>
                    <a:pt x="110" y="528"/>
                  </a:lnTo>
                  <a:lnTo>
                    <a:pt x="110" y="525"/>
                  </a:lnTo>
                  <a:lnTo>
                    <a:pt x="113" y="528"/>
                  </a:lnTo>
                  <a:lnTo>
                    <a:pt x="116" y="525"/>
                  </a:lnTo>
                  <a:lnTo>
                    <a:pt x="119" y="522"/>
                  </a:lnTo>
                  <a:lnTo>
                    <a:pt x="119" y="519"/>
                  </a:lnTo>
                  <a:lnTo>
                    <a:pt x="116" y="516"/>
                  </a:lnTo>
                  <a:lnTo>
                    <a:pt x="113" y="513"/>
                  </a:lnTo>
                  <a:lnTo>
                    <a:pt x="107" y="510"/>
                  </a:lnTo>
                  <a:lnTo>
                    <a:pt x="107" y="507"/>
                  </a:lnTo>
                  <a:lnTo>
                    <a:pt x="107" y="504"/>
                  </a:lnTo>
                  <a:lnTo>
                    <a:pt x="107" y="502"/>
                  </a:lnTo>
                  <a:lnTo>
                    <a:pt x="107" y="499"/>
                  </a:lnTo>
                  <a:lnTo>
                    <a:pt x="113" y="499"/>
                  </a:lnTo>
                  <a:lnTo>
                    <a:pt x="116" y="493"/>
                  </a:lnTo>
                  <a:lnTo>
                    <a:pt x="116" y="490"/>
                  </a:lnTo>
                  <a:lnTo>
                    <a:pt x="116" y="487"/>
                  </a:lnTo>
                  <a:lnTo>
                    <a:pt x="113" y="484"/>
                  </a:lnTo>
                  <a:lnTo>
                    <a:pt x="110" y="484"/>
                  </a:lnTo>
                  <a:lnTo>
                    <a:pt x="107" y="481"/>
                  </a:lnTo>
                  <a:lnTo>
                    <a:pt x="107" y="478"/>
                  </a:lnTo>
                  <a:lnTo>
                    <a:pt x="104" y="472"/>
                  </a:lnTo>
                  <a:lnTo>
                    <a:pt x="107" y="472"/>
                  </a:lnTo>
                  <a:lnTo>
                    <a:pt x="110" y="469"/>
                  </a:lnTo>
                  <a:lnTo>
                    <a:pt x="110" y="466"/>
                  </a:lnTo>
                  <a:lnTo>
                    <a:pt x="113" y="466"/>
                  </a:lnTo>
                  <a:lnTo>
                    <a:pt x="113" y="463"/>
                  </a:lnTo>
                  <a:lnTo>
                    <a:pt x="116" y="463"/>
                  </a:lnTo>
                  <a:lnTo>
                    <a:pt x="116" y="460"/>
                  </a:lnTo>
                  <a:lnTo>
                    <a:pt x="119" y="457"/>
                  </a:lnTo>
                  <a:lnTo>
                    <a:pt x="119" y="454"/>
                  </a:lnTo>
                  <a:lnTo>
                    <a:pt x="121" y="451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4" y="437"/>
                  </a:lnTo>
                  <a:lnTo>
                    <a:pt x="127" y="434"/>
                  </a:lnTo>
                  <a:lnTo>
                    <a:pt x="127" y="431"/>
                  </a:lnTo>
                  <a:lnTo>
                    <a:pt x="127" y="428"/>
                  </a:lnTo>
                  <a:lnTo>
                    <a:pt x="133" y="425"/>
                  </a:lnTo>
                  <a:lnTo>
                    <a:pt x="136" y="422"/>
                  </a:lnTo>
                  <a:lnTo>
                    <a:pt x="136" y="419"/>
                  </a:lnTo>
                  <a:lnTo>
                    <a:pt x="130" y="416"/>
                  </a:lnTo>
                  <a:lnTo>
                    <a:pt x="130" y="413"/>
                  </a:lnTo>
                  <a:lnTo>
                    <a:pt x="127" y="410"/>
                  </a:lnTo>
                  <a:lnTo>
                    <a:pt x="121" y="413"/>
                  </a:lnTo>
                  <a:lnTo>
                    <a:pt x="119" y="413"/>
                  </a:lnTo>
                  <a:lnTo>
                    <a:pt x="113" y="410"/>
                  </a:lnTo>
                  <a:lnTo>
                    <a:pt x="110" y="407"/>
                  </a:lnTo>
                  <a:lnTo>
                    <a:pt x="110" y="404"/>
                  </a:lnTo>
                  <a:lnTo>
                    <a:pt x="113" y="401"/>
                  </a:lnTo>
                  <a:lnTo>
                    <a:pt x="113" y="395"/>
                  </a:lnTo>
                  <a:lnTo>
                    <a:pt x="116" y="389"/>
                  </a:lnTo>
                  <a:lnTo>
                    <a:pt x="116" y="386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78"/>
                  </a:lnTo>
                  <a:lnTo>
                    <a:pt x="119" y="375"/>
                  </a:lnTo>
                  <a:lnTo>
                    <a:pt x="119" y="372"/>
                  </a:lnTo>
                  <a:lnTo>
                    <a:pt x="119" y="366"/>
                  </a:lnTo>
                  <a:lnTo>
                    <a:pt x="116" y="360"/>
                  </a:lnTo>
                  <a:lnTo>
                    <a:pt x="119" y="357"/>
                  </a:lnTo>
                  <a:lnTo>
                    <a:pt x="119" y="354"/>
                  </a:lnTo>
                  <a:lnTo>
                    <a:pt x="121" y="351"/>
                  </a:lnTo>
                  <a:lnTo>
                    <a:pt x="121" y="348"/>
                  </a:lnTo>
                  <a:lnTo>
                    <a:pt x="121" y="345"/>
                  </a:lnTo>
                  <a:lnTo>
                    <a:pt x="119" y="342"/>
                  </a:lnTo>
                  <a:lnTo>
                    <a:pt x="119" y="339"/>
                  </a:lnTo>
                  <a:lnTo>
                    <a:pt x="119" y="336"/>
                  </a:lnTo>
                  <a:lnTo>
                    <a:pt x="116" y="333"/>
                  </a:lnTo>
                  <a:lnTo>
                    <a:pt x="113" y="330"/>
                  </a:lnTo>
                  <a:lnTo>
                    <a:pt x="110" y="330"/>
                  </a:lnTo>
                  <a:lnTo>
                    <a:pt x="104" y="330"/>
                  </a:lnTo>
                  <a:lnTo>
                    <a:pt x="101" y="333"/>
                  </a:lnTo>
                  <a:lnTo>
                    <a:pt x="95" y="336"/>
                  </a:lnTo>
                  <a:lnTo>
                    <a:pt x="92" y="336"/>
                  </a:lnTo>
                  <a:lnTo>
                    <a:pt x="86" y="342"/>
                  </a:lnTo>
                  <a:lnTo>
                    <a:pt x="80" y="342"/>
                  </a:lnTo>
                  <a:lnTo>
                    <a:pt x="77" y="339"/>
                  </a:lnTo>
                  <a:lnTo>
                    <a:pt x="74" y="336"/>
                  </a:lnTo>
                  <a:lnTo>
                    <a:pt x="71" y="333"/>
                  </a:lnTo>
                  <a:lnTo>
                    <a:pt x="68" y="333"/>
                  </a:lnTo>
                  <a:lnTo>
                    <a:pt x="71" y="330"/>
                  </a:lnTo>
                  <a:lnTo>
                    <a:pt x="71" y="327"/>
                  </a:lnTo>
                  <a:lnTo>
                    <a:pt x="71" y="324"/>
                  </a:lnTo>
                  <a:lnTo>
                    <a:pt x="68" y="322"/>
                  </a:lnTo>
                  <a:lnTo>
                    <a:pt x="68" y="319"/>
                  </a:lnTo>
                  <a:lnTo>
                    <a:pt x="68" y="313"/>
                  </a:lnTo>
                  <a:lnTo>
                    <a:pt x="68" y="307"/>
                  </a:lnTo>
                  <a:lnTo>
                    <a:pt x="68" y="304"/>
                  </a:lnTo>
                  <a:lnTo>
                    <a:pt x="68" y="301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77" y="295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80" y="286"/>
                  </a:lnTo>
                  <a:lnTo>
                    <a:pt x="80" y="283"/>
                  </a:lnTo>
                  <a:lnTo>
                    <a:pt x="77" y="280"/>
                  </a:lnTo>
                  <a:lnTo>
                    <a:pt x="74" y="277"/>
                  </a:lnTo>
                  <a:lnTo>
                    <a:pt x="71" y="274"/>
                  </a:lnTo>
                  <a:lnTo>
                    <a:pt x="65" y="271"/>
                  </a:lnTo>
                  <a:lnTo>
                    <a:pt x="57" y="268"/>
                  </a:lnTo>
                  <a:lnTo>
                    <a:pt x="51" y="265"/>
                  </a:lnTo>
                  <a:lnTo>
                    <a:pt x="54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5" y="257"/>
                  </a:lnTo>
                  <a:lnTo>
                    <a:pt x="65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7" y="242"/>
                  </a:lnTo>
                  <a:lnTo>
                    <a:pt x="54" y="242"/>
                  </a:lnTo>
                  <a:lnTo>
                    <a:pt x="57" y="239"/>
                  </a:lnTo>
                  <a:lnTo>
                    <a:pt x="59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1" y="236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36" y="239"/>
                  </a:lnTo>
                  <a:lnTo>
                    <a:pt x="33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7" y="233"/>
                  </a:lnTo>
                  <a:lnTo>
                    <a:pt x="30" y="230"/>
                  </a:lnTo>
                  <a:lnTo>
                    <a:pt x="33" y="230"/>
                  </a:lnTo>
                  <a:lnTo>
                    <a:pt x="36" y="227"/>
                  </a:lnTo>
                  <a:lnTo>
                    <a:pt x="39" y="224"/>
                  </a:lnTo>
                  <a:lnTo>
                    <a:pt x="39" y="221"/>
                  </a:lnTo>
                  <a:lnTo>
                    <a:pt x="33" y="221"/>
                  </a:lnTo>
                  <a:lnTo>
                    <a:pt x="33" y="218"/>
                  </a:lnTo>
                  <a:lnTo>
                    <a:pt x="27" y="215"/>
                  </a:lnTo>
                  <a:lnTo>
                    <a:pt x="24" y="212"/>
                  </a:lnTo>
                  <a:lnTo>
                    <a:pt x="21" y="209"/>
                  </a:lnTo>
                  <a:lnTo>
                    <a:pt x="15" y="212"/>
                  </a:lnTo>
                  <a:lnTo>
                    <a:pt x="6" y="206"/>
                  </a:lnTo>
                  <a:lnTo>
                    <a:pt x="0" y="209"/>
                  </a:lnTo>
                  <a:lnTo>
                    <a:pt x="0" y="206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3" y="198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2" y="198"/>
                  </a:lnTo>
                  <a:lnTo>
                    <a:pt x="18" y="195"/>
                  </a:lnTo>
                  <a:lnTo>
                    <a:pt x="21" y="192"/>
                  </a:lnTo>
                  <a:lnTo>
                    <a:pt x="24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33" y="186"/>
                  </a:lnTo>
                  <a:lnTo>
                    <a:pt x="39" y="183"/>
                  </a:lnTo>
                  <a:lnTo>
                    <a:pt x="42" y="186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8" y="195"/>
                  </a:lnTo>
                  <a:lnTo>
                    <a:pt x="54" y="195"/>
                  </a:lnTo>
                  <a:lnTo>
                    <a:pt x="59" y="195"/>
                  </a:lnTo>
                  <a:lnTo>
                    <a:pt x="65" y="195"/>
                  </a:lnTo>
                  <a:lnTo>
                    <a:pt x="71" y="198"/>
                  </a:lnTo>
                  <a:lnTo>
                    <a:pt x="77" y="198"/>
                  </a:lnTo>
                  <a:lnTo>
                    <a:pt x="77" y="195"/>
                  </a:lnTo>
                  <a:lnTo>
                    <a:pt x="77" y="192"/>
                  </a:lnTo>
                  <a:lnTo>
                    <a:pt x="80" y="189"/>
                  </a:lnTo>
                  <a:lnTo>
                    <a:pt x="83" y="180"/>
                  </a:lnTo>
                  <a:lnTo>
                    <a:pt x="89" y="177"/>
                  </a:lnTo>
                  <a:lnTo>
                    <a:pt x="98" y="177"/>
                  </a:lnTo>
                  <a:lnTo>
                    <a:pt x="104" y="177"/>
                  </a:lnTo>
                  <a:lnTo>
                    <a:pt x="110" y="186"/>
                  </a:lnTo>
                  <a:lnTo>
                    <a:pt x="113" y="183"/>
                  </a:lnTo>
                  <a:lnTo>
                    <a:pt x="116" y="180"/>
                  </a:lnTo>
                  <a:lnTo>
                    <a:pt x="121" y="180"/>
                  </a:lnTo>
                  <a:lnTo>
                    <a:pt x="130" y="177"/>
                  </a:lnTo>
                  <a:lnTo>
                    <a:pt x="133" y="177"/>
                  </a:lnTo>
                  <a:lnTo>
                    <a:pt x="139" y="180"/>
                  </a:lnTo>
                  <a:lnTo>
                    <a:pt x="145" y="183"/>
                  </a:lnTo>
                  <a:lnTo>
                    <a:pt x="148" y="183"/>
                  </a:lnTo>
                  <a:lnTo>
                    <a:pt x="151" y="183"/>
                  </a:lnTo>
                  <a:lnTo>
                    <a:pt x="154" y="174"/>
                  </a:lnTo>
                  <a:lnTo>
                    <a:pt x="157" y="171"/>
                  </a:lnTo>
                  <a:lnTo>
                    <a:pt x="160" y="168"/>
                  </a:lnTo>
                  <a:lnTo>
                    <a:pt x="160" y="165"/>
                  </a:lnTo>
                  <a:lnTo>
                    <a:pt x="166" y="165"/>
                  </a:lnTo>
                  <a:lnTo>
                    <a:pt x="172" y="165"/>
                  </a:lnTo>
                  <a:lnTo>
                    <a:pt x="178" y="165"/>
                  </a:lnTo>
                  <a:lnTo>
                    <a:pt x="180" y="159"/>
                  </a:lnTo>
                  <a:lnTo>
                    <a:pt x="183" y="156"/>
                  </a:lnTo>
                  <a:lnTo>
                    <a:pt x="183" y="153"/>
                  </a:lnTo>
                  <a:lnTo>
                    <a:pt x="186" y="153"/>
                  </a:lnTo>
                  <a:lnTo>
                    <a:pt x="189" y="150"/>
                  </a:lnTo>
                  <a:lnTo>
                    <a:pt x="192" y="147"/>
                  </a:lnTo>
                  <a:lnTo>
                    <a:pt x="189" y="147"/>
                  </a:lnTo>
                  <a:lnTo>
                    <a:pt x="189" y="144"/>
                  </a:lnTo>
                  <a:lnTo>
                    <a:pt x="186" y="141"/>
                  </a:lnTo>
                  <a:lnTo>
                    <a:pt x="183" y="141"/>
                  </a:lnTo>
                  <a:lnTo>
                    <a:pt x="180" y="139"/>
                  </a:lnTo>
                  <a:lnTo>
                    <a:pt x="178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69" y="139"/>
                  </a:lnTo>
                  <a:lnTo>
                    <a:pt x="166" y="139"/>
                  </a:lnTo>
                  <a:lnTo>
                    <a:pt x="163" y="139"/>
                  </a:lnTo>
                  <a:lnTo>
                    <a:pt x="160" y="139"/>
                  </a:lnTo>
                  <a:lnTo>
                    <a:pt x="157" y="139"/>
                  </a:lnTo>
                  <a:lnTo>
                    <a:pt x="157" y="136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7" y="130"/>
                  </a:lnTo>
                  <a:lnTo>
                    <a:pt x="169" y="124"/>
                  </a:lnTo>
                  <a:lnTo>
                    <a:pt x="172" y="118"/>
                  </a:lnTo>
                  <a:lnTo>
                    <a:pt x="175" y="112"/>
                  </a:lnTo>
                  <a:lnTo>
                    <a:pt x="175" y="106"/>
                  </a:lnTo>
                  <a:lnTo>
                    <a:pt x="172" y="106"/>
                  </a:lnTo>
                  <a:lnTo>
                    <a:pt x="169" y="100"/>
                  </a:lnTo>
                  <a:lnTo>
                    <a:pt x="169" y="94"/>
                  </a:lnTo>
                  <a:lnTo>
                    <a:pt x="172" y="88"/>
                  </a:lnTo>
                  <a:lnTo>
                    <a:pt x="175" y="85"/>
                  </a:lnTo>
                  <a:lnTo>
                    <a:pt x="186" y="88"/>
                  </a:lnTo>
                  <a:lnTo>
                    <a:pt x="189" y="88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5" y="77"/>
                  </a:lnTo>
                  <a:lnTo>
                    <a:pt x="195" y="71"/>
                  </a:lnTo>
                  <a:lnTo>
                    <a:pt x="198" y="71"/>
                  </a:lnTo>
                  <a:lnTo>
                    <a:pt x="201" y="68"/>
                  </a:lnTo>
                  <a:lnTo>
                    <a:pt x="210" y="68"/>
                  </a:lnTo>
                  <a:lnTo>
                    <a:pt x="213" y="71"/>
                  </a:lnTo>
                  <a:lnTo>
                    <a:pt x="216" y="74"/>
                  </a:lnTo>
                  <a:lnTo>
                    <a:pt x="219" y="74"/>
                  </a:lnTo>
                  <a:lnTo>
                    <a:pt x="222" y="71"/>
                  </a:lnTo>
                  <a:lnTo>
                    <a:pt x="225" y="68"/>
                  </a:lnTo>
                  <a:lnTo>
                    <a:pt x="228" y="71"/>
                  </a:lnTo>
                  <a:lnTo>
                    <a:pt x="231" y="74"/>
                  </a:lnTo>
                  <a:lnTo>
                    <a:pt x="237" y="77"/>
                  </a:lnTo>
                  <a:lnTo>
                    <a:pt x="240" y="80"/>
                  </a:lnTo>
                  <a:lnTo>
                    <a:pt x="245" y="80"/>
                  </a:lnTo>
                  <a:lnTo>
                    <a:pt x="251" y="85"/>
                  </a:lnTo>
                  <a:lnTo>
                    <a:pt x="257" y="91"/>
                  </a:lnTo>
                  <a:lnTo>
                    <a:pt x="263" y="94"/>
                  </a:lnTo>
                  <a:lnTo>
                    <a:pt x="269" y="94"/>
                  </a:lnTo>
                  <a:lnTo>
                    <a:pt x="269" y="97"/>
                  </a:lnTo>
                  <a:lnTo>
                    <a:pt x="275" y="94"/>
                  </a:lnTo>
                  <a:lnTo>
                    <a:pt x="278" y="91"/>
                  </a:lnTo>
                  <a:lnTo>
                    <a:pt x="281" y="88"/>
                  </a:lnTo>
                  <a:lnTo>
                    <a:pt x="284" y="82"/>
                  </a:lnTo>
                  <a:lnTo>
                    <a:pt x="287" y="82"/>
                  </a:lnTo>
                  <a:lnTo>
                    <a:pt x="290" y="82"/>
                  </a:lnTo>
                  <a:lnTo>
                    <a:pt x="293" y="77"/>
                  </a:lnTo>
                  <a:lnTo>
                    <a:pt x="299" y="65"/>
                  </a:lnTo>
                  <a:lnTo>
                    <a:pt x="299" y="59"/>
                  </a:lnTo>
                  <a:lnTo>
                    <a:pt x="301" y="53"/>
                  </a:lnTo>
                  <a:lnTo>
                    <a:pt x="307" y="53"/>
                  </a:lnTo>
                  <a:lnTo>
                    <a:pt x="307" y="50"/>
                  </a:lnTo>
                  <a:lnTo>
                    <a:pt x="313" y="50"/>
                  </a:lnTo>
                  <a:lnTo>
                    <a:pt x="316" y="47"/>
                  </a:lnTo>
                  <a:lnTo>
                    <a:pt x="325" y="47"/>
                  </a:lnTo>
                  <a:lnTo>
                    <a:pt x="328" y="50"/>
                  </a:lnTo>
                  <a:lnTo>
                    <a:pt x="328" y="53"/>
                  </a:lnTo>
                  <a:lnTo>
                    <a:pt x="334" y="50"/>
                  </a:lnTo>
                  <a:lnTo>
                    <a:pt x="334" y="47"/>
                  </a:lnTo>
                  <a:lnTo>
                    <a:pt x="337" y="47"/>
                  </a:lnTo>
                  <a:lnTo>
                    <a:pt x="343" y="50"/>
                  </a:lnTo>
                  <a:lnTo>
                    <a:pt x="349" y="50"/>
                  </a:lnTo>
                  <a:lnTo>
                    <a:pt x="352" y="53"/>
                  </a:lnTo>
                  <a:lnTo>
                    <a:pt x="355" y="53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6" y="44"/>
                  </a:lnTo>
                  <a:lnTo>
                    <a:pt x="372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4" y="41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93" y="35"/>
                  </a:lnTo>
                  <a:lnTo>
                    <a:pt x="393" y="32"/>
                  </a:lnTo>
                  <a:lnTo>
                    <a:pt x="393" y="29"/>
                  </a:lnTo>
                  <a:lnTo>
                    <a:pt x="393" y="26"/>
                  </a:lnTo>
                  <a:lnTo>
                    <a:pt x="390" y="23"/>
                  </a:lnTo>
                  <a:lnTo>
                    <a:pt x="393" y="23"/>
                  </a:lnTo>
                  <a:lnTo>
                    <a:pt x="399" y="21"/>
                  </a:lnTo>
                  <a:lnTo>
                    <a:pt x="405" y="23"/>
                  </a:lnTo>
                  <a:lnTo>
                    <a:pt x="408" y="23"/>
                  </a:lnTo>
                  <a:lnTo>
                    <a:pt x="408" y="26"/>
                  </a:lnTo>
                  <a:lnTo>
                    <a:pt x="411" y="29"/>
                  </a:lnTo>
                  <a:lnTo>
                    <a:pt x="414" y="29"/>
                  </a:lnTo>
                  <a:lnTo>
                    <a:pt x="420" y="26"/>
                  </a:lnTo>
                  <a:lnTo>
                    <a:pt x="422" y="26"/>
                  </a:lnTo>
                  <a:lnTo>
                    <a:pt x="425" y="29"/>
                  </a:lnTo>
                  <a:lnTo>
                    <a:pt x="422" y="32"/>
                  </a:lnTo>
                  <a:lnTo>
                    <a:pt x="428" y="35"/>
                  </a:lnTo>
                  <a:lnTo>
                    <a:pt x="431" y="35"/>
                  </a:lnTo>
                  <a:lnTo>
                    <a:pt x="437" y="32"/>
                  </a:lnTo>
                  <a:lnTo>
                    <a:pt x="434" y="29"/>
                  </a:lnTo>
                  <a:lnTo>
                    <a:pt x="431" y="26"/>
                  </a:lnTo>
                  <a:lnTo>
                    <a:pt x="434" y="26"/>
                  </a:lnTo>
                  <a:lnTo>
                    <a:pt x="437" y="26"/>
                  </a:lnTo>
                  <a:lnTo>
                    <a:pt x="440" y="26"/>
                  </a:lnTo>
                  <a:lnTo>
                    <a:pt x="446" y="23"/>
                  </a:lnTo>
                  <a:lnTo>
                    <a:pt x="449" y="23"/>
                  </a:lnTo>
                  <a:lnTo>
                    <a:pt x="455" y="21"/>
                  </a:lnTo>
                  <a:lnTo>
                    <a:pt x="455" y="15"/>
                  </a:lnTo>
                  <a:lnTo>
                    <a:pt x="458" y="12"/>
                  </a:lnTo>
                  <a:lnTo>
                    <a:pt x="461" y="6"/>
                  </a:lnTo>
                  <a:lnTo>
                    <a:pt x="467" y="6"/>
                  </a:lnTo>
                  <a:lnTo>
                    <a:pt x="467" y="3"/>
                  </a:lnTo>
                  <a:lnTo>
                    <a:pt x="464" y="0"/>
                  </a:lnTo>
                  <a:lnTo>
                    <a:pt x="473" y="3"/>
                  </a:lnTo>
                  <a:lnTo>
                    <a:pt x="473" y="9"/>
                  </a:lnTo>
                  <a:lnTo>
                    <a:pt x="479" y="9"/>
                  </a:lnTo>
                  <a:lnTo>
                    <a:pt x="481" y="9"/>
                  </a:lnTo>
                  <a:lnTo>
                    <a:pt x="487" y="9"/>
                  </a:lnTo>
                  <a:lnTo>
                    <a:pt x="493" y="9"/>
                  </a:lnTo>
                  <a:lnTo>
                    <a:pt x="493" y="12"/>
                  </a:lnTo>
                  <a:lnTo>
                    <a:pt x="496" y="15"/>
                  </a:lnTo>
                  <a:lnTo>
                    <a:pt x="502" y="15"/>
                  </a:lnTo>
                  <a:lnTo>
                    <a:pt x="502" y="18"/>
                  </a:lnTo>
                  <a:lnTo>
                    <a:pt x="502" y="23"/>
                  </a:lnTo>
                  <a:lnTo>
                    <a:pt x="502" y="29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9" y="38"/>
                  </a:lnTo>
                  <a:lnTo>
                    <a:pt x="502" y="35"/>
                  </a:lnTo>
                  <a:lnTo>
                    <a:pt x="499" y="41"/>
                  </a:lnTo>
                  <a:lnTo>
                    <a:pt x="499" y="47"/>
                  </a:lnTo>
                  <a:lnTo>
                    <a:pt x="499" y="50"/>
                  </a:lnTo>
                  <a:lnTo>
                    <a:pt x="496" y="53"/>
                  </a:lnTo>
                  <a:lnTo>
                    <a:pt x="496" y="56"/>
                  </a:lnTo>
                  <a:lnTo>
                    <a:pt x="493" y="62"/>
                  </a:lnTo>
                  <a:lnTo>
                    <a:pt x="493" y="68"/>
                  </a:lnTo>
                  <a:lnTo>
                    <a:pt x="493" y="77"/>
                  </a:lnTo>
                  <a:lnTo>
                    <a:pt x="493" y="82"/>
                  </a:lnTo>
                  <a:lnTo>
                    <a:pt x="490" y="88"/>
                  </a:lnTo>
                  <a:lnTo>
                    <a:pt x="487" y="91"/>
                  </a:lnTo>
                  <a:lnTo>
                    <a:pt x="484" y="100"/>
                  </a:lnTo>
                  <a:lnTo>
                    <a:pt x="481" y="112"/>
                  </a:lnTo>
                  <a:lnTo>
                    <a:pt x="479" y="118"/>
                  </a:lnTo>
                  <a:lnTo>
                    <a:pt x="476" y="121"/>
                  </a:lnTo>
                  <a:lnTo>
                    <a:pt x="473" y="124"/>
                  </a:lnTo>
                  <a:lnTo>
                    <a:pt x="467" y="130"/>
                  </a:lnTo>
                  <a:lnTo>
                    <a:pt x="461" y="136"/>
                  </a:lnTo>
                  <a:lnTo>
                    <a:pt x="458" y="139"/>
                  </a:lnTo>
                  <a:lnTo>
                    <a:pt x="452" y="139"/>
                  </a:lnTo>
                  <a:lnTo>
                    <a:pt x="452" y="141"/>
                  </a:lnTo>
                  <a:lnTo>
                    <a:pt x="455" y="144"/>
                  </a:lnTo>
                  <a:lnTo>
                    <a:pt x="458" y="144"/>
                  </a:lnTo>
                  <a:lnTo>
                    <a:pt x="461" y="141"/>
                  </a:lnTo>
                  <a:lnTo>
                    <a:pt x="458" y="144"/>
                  </a:lnTo>
                  <a:lnTo>
                    <a:pt x="455" y="150"/>
                  </a:lnTo>
                  <a:lnTo>
                    <a:pt x="446" y="159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0" y="168"/>
                  </a:lnTo>
                  <a:lnTo>
                    <a:pt x="437" y="171"/>
                  </a:lnTo>
                  <a:lnTo>
                    <a:pt x="434" y="174"/>
                  </a:lnTo>
                  <a:lnTo>
                    <a:pt x="431" y="171"/>
                  </a:lnTo>
                  <a:lnTo>
                    <a:pt x="431" y="168"/>
                  </a:lnTo>
                  <a:lnTo>
                    <a:pt x="428" y="168"/>
                  </a:lnTo>
                  <a:lnTo>
                    <a:pt x="425" y="168"/>
                  </a:lnTo>
                  <a:lnTo>
                    <a:pt x="422" y="165"/>
                  </a:lnTo>
                  <a:lnTo>
                    <a:pt x="420" y="165"/>
                  </a:lnTo>
                  <a:lnTo>
                    <a:pt x="420" y="168"/>
                  </a:lnTo>
                  <a:lnTo>
                    <a:pt x="422" y="171"/>
                  </a:lnTo>
                  <a:lnTo>
                    <a:pt x="425" y="174"/>
                  </a:lnTo>
                  <a:lnTo>
                    <a:pt x="425" y="177"/>
                  </a:lnTo>
                  <a:lnTo>
                    <a:pt x="425" y="180"/>
                  </a:lnTo>
                  <a:lnTo>
                    <a:pt x="428" y="183"/>
                  </a:lnTo>
                  <a:lnTo>
                    <a:pt x="437" y="183"/>
                  </a:lnTo>
                  <a:lnTo>
                    <a:pt x="437" y="186"/>
                  </a:lnTo>
                  <a:lnTo>
                    <a:pt x="434" y="189"/>
                  </a:lnTo>
                  <a:lnTo>
                    <a:pt x="437" y="192"/>
                  </a:lnTo>
                  <a:lnTo>
                    <a:pt x="434" y="195"/>
                  </a:lnTo>
                  <a:lnTo>
                    <a:pt x="434" y="201"/>
                  </a:lnTo>
                  <a:lnTo>
                    <a:pt x="431" y="206"/>
                  </a:lnTo>
                  <a:lnTo>
                    <a:pt x="431" y="215"/>
                  </a:lnTo>
                  <a:lnTo>
                    <a:pt x="434" y="221"/>
                  </a:lnTo>
                  <a:lnTo>
                    <a:pt x="434" y="224"/>
                  </a:lnTo>
                  <a:lnTo>
                    <a:pt x="437" y="221"/>
                  </a:lnTo>
                  <a:lnTo>
                    <a:pt x="440" y="227"/>
                  </a:lnTo>
                  <a:lnTo>
                    <a:pt x="440" y="230"/>
                  </a:lnTo>
                  <a:lnTo>
                    <a:pt x="440" y="236"/>
                  </a:lnTo>
                  <a:lnTo>
                    <a:pt x="443" y="242"/>
                  </a:lnTo>
                  <a:lnTo>
                    <a:pt x="443" y="251"/>
                  </a:lnTo>
                  <a:lnTo>
                    <a:pt x="443" y="260"/>
                  </a:lnTo>
                  <a:lnTo>
                    <a:pt x="443" y="265"/>
                  </a:lnTo>
                  <a:lnTo>
                    <a:pt x="443" y="268"/>
                  </a:lnTo>
                  <a:lnTo>
                    <a:pt x="443" y="271"/>
                  </a:lnTo>
                  <a:lnTo>
                    <a:pt x="437" y="274"/>
                  </a:lnTo>
                  <a:lnTo>
                    <a:pt x="434" y="274"/>
                  </a:lnTo>
                  <a:lnTo>
                    <a:pt x="431" y="271"/>
                  </a:lnTo>
                  <a:lnTo>
                    <a:pt x="431" y="274"/>
                  </a:lnTo>
                  <a:lnTo>
                    <a:pt x="428" y="277"/>
                  </a:lnTo>
                  <a:lnTo>
                    <a:pt x="425" y="280"/>
                  </a:lnTo>
                  <a:lnTo>
                    <a:pt x="428" y="283"/>
                  </a:lnTo>
                  <a:lnTo>
                    <a:pt x="431" y="283"/>
                  </a:lnTo>
                  <a:lnTo>
                    <a:pt x="434" y="286"/>
                  </a:lnTo>
                  <a:lnTo>
                    <a:pt x="440" y="283"/>
                  </a:lnTo>
                  <a:lnTo>
                    <a:pt x="443" y="286"/>
                  </a:lnTo>
                  <a:lnTo>
                    <a:pt x="443" y="292"/>
                  </a:lnTo>
                  <a:lnTo>
                    <a:pt x="443" y="298"/>
                  </a:lnTo>
                  <a:lnTo>
                    <a:pt x="443" y="304"/>
                  </a:lnTo>
                  <a:lnTo>
                    <a:pt x="443" y="316"/>
                  </a:lnTo>
                  <a:lnTo>
                    <a:pt x="440" y="324"/>
                  </a:lnTo>
                  <a:lnTo>
                    <a:pt x="440" y="330"/>
                  </a:lnTo>
                  <a:lnTo>
                    <a:pt x="443" y="339"/>
                  </a:lnTo>
                  <a:lnTo>
                    <a:pt x="446" y="345"/>
                  </a:lnTo>
                  <a:lnTo>
                    <a:pt x="443" y="348"/>
                  </a:lnTo>
                  <a:lnTo>
                    <a:pt x="440" y="348"/>
                  </a:lnTo>
                  <a:lnTo>
                    <a:pt x="434" y="348"/>
                  </a:lnTo>
                  <a:lnTo>
                    <a:pt x="428" y="345"/>
                  </a:lnTo>
                  <a:lnTo>
                    <a:pt x="425" y="345"/>
                  </a:lnTo>
                  <a:lnTo>
                    <a:pt x="422" y="345"/>
                  </a:lnTo>
                  <a:lnTo>
                    <a:pt x="417" y="342"/>
                  </a:lnTo>
                  <a:lnTo>
                    <a:pt x="414" y="342"/>
                  </a:lnTo>
                  <a:lnTo>
                    <a:pt x="417" y="345"/>
                  </a:lnTo>
                  <a:lnTo>
                    <a:pt x="422" y="345"/>
                  </a:lnTo>
                  <a:lnTo>
                    <a:pt x="425" y="348"/>
                  </a:lnTo>
                  <a:lnTo>
                    <a:pt x="428" y="348"/>
                  </a:lnTo>
                  <a:lnTo>
                    <a:pt x="431" y="348"/>
                  </a:lnTo>
                  <a:lnTo>
                    <a:pt x="425" y="348"/>
                  </a:lnTo>
                  <a:lnTo>
                    <a:pt x="420" y="348"/>
                  </a:lnTo>
                  <a:lnTo>
                    <a:pt x="414" y="345"/>
                  </a:lnTo>
                  <a:lnTo>
                    <a:pt x="411" y="345"/>
                  </a:lnTo>
                  <a:lnTo>
                    <a:pt x="405" y="345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11" y="339"/>
                  </a:lnTo>
                  <a:lnTo>
                    <a:pt x="402" y="339"/>
                  </a:lnTo>
                  <a:lnTo>
                    <a:pt x="402" y="342"/>
                  </a:lnTo>
                  <a:lnTo>
                    <a:pt x="399" y="345"/>
                  </a:lnTo>
                  <a:lnTo>
                    <a:pt x="393" y="345"/>
                  </a:lnTo>
                  <a:lnTo>
                    <a:pt x="384" y="342"/>
                  </a:lnTo>
                  <a:lnTo>
                    <a:pt x="381" y="345"/>
                  </a:lnTo>
                  <a:lnTo>
                    <a:pt x="375" y="348"/>
                  </a:lnTo>
                  <a:lnTo>
                    <a:pt x="372" y="348"/>
                  </a:lnTo>
                  <a:lnTo>
                    <a:pt x="369" y="354"/>
                  </a:lnTo>
                  <a:lnTo>
                    <a:pt x="366" y="354"/>
                  </a:lnTo>
                  <a:lnTo>
                    <a:pt x="363" y="357"/>
                  </a:lnTo>
                  <a:lnTo>
                    <a:pt x="363" y="360"/>
                  </a:lnTo>
                  <a:lnTo>
                    <a:pt x="363" y="366"/>
                  </a:lnTo>
                  <a:lnTo>
                    <a:pt x="363" y="369"/>
                  </a:lnTo>
                  <a:lnTo>
                    <a:pt x="366" y="372"/>
                  </a:lnTo>
                  <a:lnTo>
                    <a:pt x="363" y="378"/>
                  </a:lnTo>
                  <a:lnTo>
                    <a:pt x="355" y="381"/>
                  </a:lnTo>
                  <a:lnTo>
                    <a:pt x="352" y="386"/>
                  </a:lnTo>
                  <a:lnTo>
                    <a:pt x="349" y="389"/>
                  </a:lnTo>
                  <a:lnTo>
                    <a:pt x="346" y="395"/>
                  </a:lnTo>
                  <a:lnTo>
                    <a:pt x="343" y="398"/>
                  </a:lnTo>
                  <a:lnTo>
                    <a:pt x="337" y="404"/>
                  </a:lnTo>
                  <a:lnTo>
                    <a:pt x="334" y="410"/>
                  </a:lnTo>
                  <a:lnTo>
                    <a:pt x="328" y="416"/>
                  </a:lnTo>
                  <a:lnTo>
                    <a:pt x="325" y="422"/>
                  </a:lnTo>
                  <a:lnTo>
                    <a:pt x="325" y="428"/>
                  </a:lnTo>
                  <a:lnTo>
                    <a:pt x="325" y="434"/>
                  </a:lnTo>
                  <a:lnTo>
                    <a:pt x="331" y="440"/>
                  </a:lnTo>
                  <a:lnTo>
                    <a:pt x="337" y="445"/>
                  </a:lnTo>
                  <a:lnTo>
                    <a:pt x="346" y="448"/>
                  </a:lnTo>
                  <a:lnTo>
                    <a:pt x="355" y="448"/>
                  </a:lnTo>
                  <a:lnTo>
                    <a:pt x="358" y="451"/>
                  </a:lnTo>
                  <a:lnTo>
                    <a:pt x="355" y="451"/>
                  </a:lnTo>
                  <a:lnTo>
                    <a:pt x="349" y="454"/>
                  </a:lnTo>
                  <a:lnTo>
                    <a:pt x="343" y="454"/>
                  </a:lnTo>
                  <a:lnTo>
                    <a:pt x="340" y="451"/>
                  </a:lnTo>
                  <a:lnTo>
                    <a:pt x="334" y="451"/>
                  </a:lnTo>
                  <a:lnTo>
                    <a:pt x="331" y="454"/>
                  </a:lnTo>
                  <a:lnTo>
                    <a:pt x="325" y="454"/>
                  </a:lnTo>
                  <a:lnTo>
                    <a:pt x="322" y="454"/>
                  </a:lnTo>
                  <a:lnTo>
                    <a:pt x="313" y="454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1" y="460"/>
                  </a:lnTo>
                  <a:lnTo>
                    <a:pt x="299" y="460"/>
                  </a:lnTo>
                  <a:lnTo>
                    <a:pt x="293" y="460"/>
                  </a:lnTo>
                  <a:lnTo>
                    <a:pt x="290" y="463"/>
                  </a:lnTo>
                  <a:lnTo>
                    <a:pt x="284" y="466"/>
                  </a:lnTo>
                  <a:lnTo>
                    <a:pt x="278" y="463"/>
                  </a:lnTo>
                  <a:lnTo>
                    <a:pt x="275" y="463"/>
                  </a:lnTo>
                  <a:lnTo>
                    <a:pt x="272" y="463"/>
                  </a:lnTo>
                  <a:lnTo>
                    <a:pt x="266" y="466"/>
                  </a:lnTo>
                  <a:lnTo>
                    <a:pt x="260" y="469"/>
                  </a:lnTo>
                  <a:lnTo>
                    <a:pt x="254" y="469"/>
                  </a:lnTo>
                  <a:lnTo>
                    <a:pt x="254" y="472"/>
                  </a:lnTo>
                  <a:lnTo>
                    <a:pt x="245" y="475"/>
                  </a:lnTo>
                  <a:lnTo>
                    <a:pt x="240" y="481"/>
                  </a:lnTo>
                  <a:lnTo>
                    <a:pt x="234" y="487"/>
                  </a:lnTo>
                  <a:lnTo>
                    <a:pt x="231" y="493"/>
                  </a:lnTo>
                  <a:lnTo>
                    <a:pt x="231" y="496"/>
                  </a:lnTo>
                  <a:lnTo>
                    <a:pt x="228" y="502"/>
                  </a:lnTo>
                  <a:lnTo>
                    <a:pt x="231" y="504"/>
                  </a:lnTo>
                  <a:lnTo>
                    <a:pt x="234" y="504"/>
                  </a:lnTo>
                  <a:lnTo>
                    <a:pt x="231" y="507"/>
                  </a:lnTo>
                  <a:lnTo>
                    <a:pt x="228" y="510"/>
                  </a:lnTo>
                  <a:lnTo>
                    <a:pt x="225" y="513"/>
                  </a:lnTo>
                  <a:lnTo>
                    <a:pt x="219" y="516"/>
                  </a:lnTo>
                  <a:lnTo>
                    <a:pt x="222" y="519"/>
                  </a:lnTo>
                  <a:lnTo>
                    <a:pt x="225" y="522"/>
                  </a:lnTo>
                  <a:lnTo>
                    <a:pt x="225" y="525"/>
                  </a:lnTo>
                  <a:lnTo>
                    <a:pt x="225" y="531"/>
                  </a:lnTo>
                  <a:lnTo>
                    <a:pt x="222" y="534"/>
                  </a:lnTo>
                  <a:lnTo>
                    <a:pt x="216" y="537"/>
                  </a:lnTo>
                  <a:lnTo>
                    <a:pt x="213" y="543"/>
                  </a:lnTo>
                  <a:lnTo>
                    <a:pt x="213" y="549"/>
                  </a:lnTo>
                  <a:lnTo>
                    <a:pt x="207" y="549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89" y="555"/>
                  </a:lnTo>
                  <a:lnTo>
                    <a:pt x="183" y="555"/>
                  </a:lnTo>
                  <a:lnTo>
                    <a:pt x="180" y="558"/>
                  </a:lnTo>
                  <a:lnTo>
                    <a:pt x="178" y="561"/>
                  </a:lnTo>
                  <a:lnTo>
                    <a:pt x="172" y="563"/>
                  </a:lnTo>
                  <a:lnTo>
                    <a:pt x="169" y="563"/>
                  </a:lnTo>
                  <a:lnTo>
                    <a:pt x="166" y="563"/>
                  </a:lnTo>
                  <a:lnTo>
                    <a:pt x="160" y="563"/>
                  </a:lnTo>
                  <a:lnTo>
                    <a:pt x="157" y="566"/>
                  </a:lnTo>
                  <a:lnTo>
                    <a:pt x="154" y="566"/>
                  </a:lnTo>
                  <a:lnTo>
                    <a:pt x="151" y="569"/>
                  </a:lnTo>
                  <a:lnTo>
                    <a:pt x="151" y="572"/>
                  </a:lnTo>
                  <a:lnTo>
                    <a:pt x="142" y="569"/>
                  </a:lnTo>
                  <a:lnTo>
                    <a:pt x="139" y="569"/>
                  </a:lnTo>
                  <a:lnTo>
                    <a:pt x="136" y="569"/>
                  </a:lnTo>
                  <a:lnTo>
                    <a:pt x="127" y="566"/>
                  </a:lnTo>
                  <a:lnTo>
                    <a:pt x="121" y="566"/>
                  </a:lnTo>
                  <a:lnTo>
                    <a:pt x="116" y="563"/>
                  </a:lnTo>
                  <a:lnTo>
                    <a:pt x="113" y="561"/>
                  </a:lnTo>
                  <a:lnTo>
                    <a:pt x="107" y="558"/>
                  </a:lnTo>
                  <a:lnTo>
                    <a:pt x="98" y="552"/>
                  </a:lnTo>
                  <a:lnTo>
                    <a:pt x="95" y="549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7" name="Freeform 12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4135" y="1752841"/>
              <a:ext cx="48246" cy="86430"/>
            </a:xfrm>
            <a:custGeom>
              <a:avLst/>
              <a:gdLst>
                <a:gd name="T0" fmla="*/ 18 w 292"/>
                <a:gd name="T1" fmla="*/ 6 h 487"/>
                <a:gd name="T2" fmla="*/ 33 w 292"/>
                <a:gd name="T3" fmla="*/ 18 h 487"/>
                <a:gd name="T4" fmla="*/ 47 w 292"/>
                <a:gd name="T5" fmla="*/ 23 h 487"/>
                <a:gd name="T6" fmla="*/ 62 w 292"/>
                <a:gd name="T7" fmla="*/ 38 h 487"/>
                <a:gd name="T8" fmla="*/ 71 w 292"/>
                <a:gd name="T9" fmla="*/ 56 h 487"/>
                <a:gd name="T10" fmla="*/ 100 w 292"/>
                <a:gd name="T11" fmla="*/ 79 h 487"/>
                <a:gd name="T12" fmla="*/ 124 w 292"/>
                <a:gd name="T13" fmla="*/ 94 h 487"/>
                <a:gd name="T14" fmla="*/ 142 w 292"/>
                <a:gd name="T15" fmla="*/ 103 h 487"/>
                <a:gd name="T16" fmla="*/ 165 w 292"/>
                <a:gd name="T17" fmla="*/ 115 h 487"/>
                <a:gd name="T18" fmla="*/ 174 w 292"/>
                <a:gd name="T19" fmla="*/ 133 h 487"/>
                <a:gd name="T20" fmla="*/ 156 w 292"/>
                <a:gd name="T21" fmla="*/ 144 h 487"/>
                <a:gd name="T22" fmla="*/ 189 w 292"/>
                <a:gd name="T23" fmla="*/ 156 h 487"/>
                <a:gd name="T24" fmla="*/ 183 w 292"/>
                <a:gd name="T25" fmla="*/ 171 h 487"/>
                <a:gd name="T26" fmla="*/ 207 w 292"/>
                <a:gd name="T27" fmla="*/ 174 h 487"/>
                <a:gd name="T28" fmla="*/ 215 w 292"/>
                <a:gd name="T29" fmla="*/ 186 h 487"/>
                <a:gd name="T30" fmla="*/ 213 w 292"/>
                <a:gd name="T31" fmla="*/ 195 h 487"/>
                <a:gd name="T32" fmla="*/ 233 w 292"/>
                <a:gd name="T33" fmla="*/ 218 h 487"/>
                <a:gd name="T34" fmla="*/ 227 w 292"/>
                <a:gd name="T35" fmla="*/ 236 h 487"/>
                <a:gd name="T36" fmla="*/ 227 w 292"/>
                <a:gd name="T37" fmla="*/ 262 h 487"/>
                <a:gd name="T38" fmla="*/ 236 w 292"/>
                <a:gd name="T39" fmla="*/ 280 h 487"/>
                <a:gd name="T40" fmla="*/ 269 w 292"/>
                <a:gd name="T41" fmla="*/ 268 h 487"/>
                <a:gd name="T42" fmla="*/ 277 w 292"/>
                <a:gd name="T43" fmla="*/ 289 h 487"/>
                <a:gd name="T44" fmla="*/ 272 w 292"/>
                <a:gd name="T45" fmla="*/ 316 h 487"/>
                <a:gd name="T46" fmla="*/ 266 w 292"/>
                <a:gd name="T47" fmla="*/ 342 h 487"/>
                <a:gd name="T48" fmla="*/ 286 w 292"/>
                <a:gd name="T49" fmla="*/ 354 h 487"/>
                <a:gd name="T50" fmla="*/ 280 w 292"/>
                <a:gd name="T51" fmla="*/ 375 h 487"/>
                <a:gd name="T52" fmla="*/ 272 w 292"/>
                <a:gd name="T53" fmla="*/ 401 h 487"/>
                <a:gd name="T54" fmla="*/ 263 w 292"/>
                <a:gd name="T55" fmla="*/ 416 h 487"/>
                <a:gd name="T56" fmla="*/ 269 w 292"/>
                <a:gd name="T57" fmla="*/ 437 h 487"/>
                <a:gd name="T58" fmla="*/ 272 w 292"/>
                <a:gd name="T59" fmla="*/ 454 h 487"/>
                <a:gd name="T60" fmla="*/ 266 w 292"/>
                <a:gd name="T61" fmla="*/ 472 h 487"/>
                <a:gd name="T62" fmla="*/ 251 w 292"/>
                <a:gd name="T63" fmla="*/ 484 h 487"/>
                <a:gd name="T64" fmla="*/ 215 w 292"/>
                <a:gd name="T65" fmla="*/ 451 h 487"/>
                <a:gd name="T66" fmla="*/ 192 w 292"/>
                <a:gd name="T67" fmla="*/ 422 h 487"/>
                <a:gd name="T68" fmla="*/ 180 w 292"/>
                <a:gd name="T69" fmla="*/ 398 h 487"/>
                <a:gd name="T70" fmla="*/ 162 w 292"/>
                <a:gd name="T71" fmla="*/ 366 h 487"/>
                <a:gd name="T72" fmla="*/ 156 w 292"/>
                <a:gd name="T73" fmla="*/ 327 h 487"/>
                <a:gd name="T74" fmla="*/ 162 w 292"/>
                <a:gd name="T75" fmla="*/ 319 h 487"/>
                <a:gd name="T76" fmla="*/ 168 w 292"/>
                <a:gd name="T77" fmla="*/ 345 h 487"/>
                <a:gd name="T78" fmla="*/ 177 w 292"/>
                <a:gd name="T79" fmla="*/ 348 h 487"/>
                <a:gd name="T80" fmla="*/ 168 w 292"/>
                <a:gd name="T81" fmla="*/ 316 h 487"/>
                <a:gd name="T82" fmla="*/ 154 w 292"/>
                <a:gd name="T83" fmla="*/ 295 h 487"/>
                <a:gd name="T84" fmla="*/ 151 w 292"/>
                <a:gd name="T85" fmla="*/ 301 h 487"/>
                <a:gd name="T86" fmla="*/ 145 w 292"/>
                <a:gd name="T87" fmla="*/ 280 h 487"/>
                <a:gd name="T88" fmla="*/ 130 w 292"/>
                <a:gd name="T89" fmla="*/ 242 h 487"/>
                <a:gd name="T90" fmla="*/ 115 w 292"/>
                <a:gd name="T91" fmla="*/ 212 h 487"/>
                <a:gd name="T92" fmla="*/ 106 w 292"/>
                <a:gd name="T93" fmla="*/ 174 h 487"/>
                <a:gd name="T94" fmla="*/ 89 w 292"/>
                <a:gd name="T95" fmla="*/ 139 h 487"/>
                <a:gd name="T96" fmla="*/ 83 w 292"/>
                <a:gd name="T97" fmla="*/ 121 h 487"/>
                <a:gd name="T98" fmla="*/ 68 w 292"/>
                <a:gd name="T99" fmla="*/ 109 h 487"/>
                <a:gd name="T100" fmla="*/ 50 w 292"/>
                <a:gd name="T101" fmla="*/ 85 h 487"/>
                <a:gd name="T102" fmla="*/ 38 w 292"/>
                <a:gd name="T103" fmla="*/ 79 h 487"/>
                <a:gd name="T104" fmla="*/ 30 w 292"/>
                <a:gd name="T105" fmla="*/ 62 h 487"/>
                <a:gd name="T106" fmla="*/ 21 w 292"/>
                <a:gd name="T107" fmla="*/ 41 h 487"/>
                <a:gd name="T108" fmla="*/ 15 w 292"/>
                <a:gd name="T109" fmla="*/ 26 h 487"/>
                <a:gd name="T110" fmla="*/ 3 w 292"/>
                <a:gd name="T111" fmla="*/ 6 h 48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92"/>
                <a:gd name="T169" fmla="*/ 0 h 487"/>
                <a:gd name="T170" fmla="*/ 292 w 292"/>
                <a:gd name="T171" fmla="*/ 487 h 48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92" h="487">
                  <a:moveTo>
                    <a:pt x="0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33" y="12"/>
                  </a:lnTo>
                  <a:lnTo>
                    <a:pt x="30" y="15"/>
                  </a:lnTo>
                  <a:lnTo>
                    <a:pt x="33" y="18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18"/>
                  </a:lnTo>
                  <a:lnTo>
                    <a:pt x="50" y="20"/>
                  </a:lnTo>
                  <a:lnTo>
                    <a:pt x="47" y="23"/>
                  </a:lnTo>
                  <a:lnTo>
                    <a:pt x="47" y="29"/>
                  </a:lnTo>
                  <a:lnTo>
                    <a:pt x="53" y="32"/>
                  </a:lnTo>
                  <a:lnTo>
                    <a:pt x="56" y="35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62" y="38"/>
                  </a:lnTo>
                  <a:lnTo>
                    <a:pt x="56" y="38"/>
                  </a:lnTo>
                  <a:lnTo>
                    <a:pt x="56" y="41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7" y="65"/>
                  </a:lnTo>
                  <a:lnTo>
                    <a:pt x="80" y="68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9"/>
                  </a:lnTo>
                  <a:lnTo>
                    <a:pt x="103" y="79"/>
                  </a:lnTo>
                  <a:lnTo>
                    <a:pt x="106" y="79"/>
                  </a:lnTo>
                  <a:lnTo>
                    <a:pt x="106" y="85"/>
                  </a:lnTo>
                  <a:lnTo>
                    <a:pt x="112" y="91"/>
                  </a:lnTo>
                  <a:lnTo>
                    <a:pt x="115" y="94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7" y="94"/>
                  </a:lnTo>
                  <a:lnTo>
                    <a:pt x="133" y="94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4"/>
                  </a:lnTo>
                  <a:lnTo>
                    <a:pt x="142" y="97"/>
                  </a:lnTo>
                  <a:lnTo>
                    <a:pt x="142" y="103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51" y="103"/>
                  </a:lnTo>
                  <a:lnTo>
                    <a:pt x="154" y="106"/>
                  </a:lnTo>
                  <a:lnTo>
                    <a:pt x="154" y="109"/>
                  </a:lnTo>
                  <a:lnTo>
                    <a:pt x="156" y="109"/>
                  </a:lnTo>
                  <a:lnTo>
                    <a:pt x="165" y="115"/>
                  </a:lnTo>
                  <a:lnTo>
                    <a:pt x="168" y="118"/>
                  </a:lnTo>
                  <a:lnTo>
                    <a:pt x="174" y="118"/>
                  </a:lnTo>
                  <a:lnTo>
                    <a:pt x="177" y="121"/>
                  </a:lnTo>
                  <a:lnTo>
                    <a:pt x="177" y="124"/>
                  </a:lnTo>
                  <a:lnTo>
                    <a:pt x="180" y="127"/>
                  </a:lnTo>
                  <a:lnTo>
                    <a:pt x="177" y="130"/>
                  </a:lnTo>
                  <a:lnTo>
                    <a:pt x="174" y="133"/>
                  </a:lnTo>
                  <a:lnTo>
                    <a:pt x="168" y="136"/>
                  </a:lnTo>
                  <a:lnTo>
                    <a:pt x="165" y="133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6" y="139"/>
                  </a:lnTo>
                  <a:lnTo>
                    <a:pt x="156" y="141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62" y="144"/>
                  </a:lnTo>
                  <a:lnTo>
                    <a:pt x="171" y="150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3" y="153"/>
                  </a:lnTo>
                  <a:lnTo>
                    <a:pt x="189" y="156"/>
                  </a:lnTo>
                  <a:lnTo>
                    <a:pt x="189" y="159"/>
                  </a:lnTo>
                  <a:lnTo>
                    <a:pt x="195" y="159"/>
                  </a:lnTo>
                  <a:lnTo>
                    <a:pt x="195" y="162"/>
                  </a:lnTo>
                  <a:lnTo>
                    <a:pt x="192" y="165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0" y="174"/>
                  </a:lnTo>
                  <a:lnTo>
                    <a:pt x="183" y="174"/>
                  </a:lnTo>
                  <a:lnTo>
                    <a:pt x="189" y="174"/>
                  </a:lnTo>
                  <a:lnTo>
                    <a:pt x="192" y="177"/>
                  </a:lnTo>
                  <a:lnTo>
                    <a:pt x="198" y="177"/>
                  </a:lnTo>
                  <a:lnTo>
                    <a:pt x="204" y="177"/>
                  </a:lnTo>
                  <a:lnTo>
                    <a:pt x="207" y="174"/>
                  </a:lnTo>
                  <a:lnTo>
                    <a:pt x="210" y="174"/>
                  </a:lnTo>
                  <a:lnTo>
                    <a:pt x="213" y="174"/>
                  </a:lnTo>
                  <a:lnTo>
                    <a:pt x="215" y="174"/>
                  </a:lnTo>
                  <a:lnTo>
                    <a:pt x="213" y="177"/>
                  </a:lnTo>
                  <a:lnTo>
                    <a:pt x="210" y="180"/>
                  </a:lnTo>
                  <a:lnTo>
                    <a:pt x="213" y="180"/>
                  </a:lnTo>
                  <a:lnTo>
                    <a:pt x="215" y="186"/>
                  </a:lnTo>
                  <a:lnTo>
                    <a:pt x="215" y="189"/>
                  </a:lnTo>
                  <a:lnTo>
                    <a:pt x="215" y="192"/>
                  </a:lnTo>
                  <a:lnTo>
                    <a:pt x="221" y="192"/>
                  </a:lnTo>
                  <a:lnTo>
                    <a:pt x="221" y="195"/>
                  </a:lnTo>
                  <a:lnTo>
                    <a:pt x="218" y="195"/>
                  </a:lnTo>
                  <a:lnTo>
                    <a:pt x="215" y="195"/>
                  </a:lnTo>
                  <a:lnTo>
                    <a:pt x="213" y="195"/>
                  </a:lnTo>
                  <a:lnTo>
                    <a:pt x="210" y="198"/>
                  </a:lnTo>
                  <a:lnTo>
                    <a:pt x="207" y="203"/>
                  </a:lnTo>
                  <a:lnTo>
                    <a:pt x="213" y="206"/>
                  </a:lnTo>
                  <a:lnTo>
                    <a:pt x="221" y="209"/>
                  </a:lnTo>
                  <a:lnTo>
                    <a:pt x="227" y="212"/>
                  </a:lnTo>
                  <a:lnTo>
                    <a:pt x="230" y="215"/>
                  </a:lnTo>
                  <a:lnTo>
                    <a:pt x="233" y="218"/>
                  </a:lnTo>
                  <a:lnTo>
                    <a:pt x="236" y="221"/>
                  </a:lnTo>
                  <a:lnTo>
                    <a:pt x="236" y="224"/>
                  </a:lnTo>
                  <a:lnTo>
                    <a:pt x="233" y="227"/>
                  </a:lnTo>
                  <a:lnTo>
                    <a:pt x="233" y="230"/>
                  </a:lnTo>
                  <a:lnTo>
                    <a:pt x="233" y="233"/>
                  </a:lnTo>
                  <a:lnTo>
                    <a:pt x="230" y="236"/>
                  </a:lnTo>
                  <a:lnTo>
                    <a:pt x="227" y="236"/>
                  </a:lnTo>
                  <a:lnTo>
                    <a:pt x="224" y="239"/>
                  </a:lnTo>
                  <a:lnTo>
                    <a:pt x="224" y="242"/>
                  </a:lnTo>
                  <a:lnTo>
                    <a:pt x="224" y="245"/>
                  </a:lnTo>
                  <a:lnTo>
                    <a:pt x="224" y="251"/>
                  </a:lnTo>
                  <a:lnTo>
                    <a:pt x="224" y="257"/>
                  </a:lnTo>
                  <a:lnTo>
                    <a:pt x="224" y="260"/>
                  </a:lnTo>
                  <a:lnTo>
                    <a:pt x="227" y="262"/>
                  </a:lnTo>
                  <a:lnTo>
                    <a:pt x="227" y="265"/>
                  </a:lnTo>
                  <a:lnTo>
                    <a:pt x="227" y="268"/>
                  </a:lnTo>
                  <a:lnTo>
                    <a:pt x="224" y="271"/>
                  </a:lnTo>
                  <a:lnTo>
                    <a:pt x="227" y="271"/>
                  </a:lnTo>
                  <a:lnTo>
                    <a:pt x="230" y="274"/>
                  </a:lnTo>
                  <a:lnTo>
                    <a:pt x="233" y="277"/>
                  </a:lnTo>
                  <a:lnTo>
                    <a:pt x="236" y="280"/>
                  </a:lnTo>
                  <a:lnTo>
                    <a:pt x="242" y="280"/>
                  </a:lnTo>
                  <a:lnTo>
                    <a:pt x="248" y="274"/>
                  </a:lnTo>
                  <a:lnTo>
                    <a:pt x="251" y="274"/>
                  </a:lnTo>
                  <a:lnTo>
                    <a:pt x="257" y="271"/>
                  </a:lnTo>
                  <a:lnTo>
                    <a:pt x="260" y="268"/>
                  </a:lnTo>
                  <a:lnTo>
                    <a:pt x="266" y="268"/>
                  </a:lnTo>
                  <a:lnTo>
                    <a:pt x="269" y="268"/>
                  </a:lnTo>
                  <a:lnTo>
                    <a:pt x="272" y="271"/>
                  </a:lnTo>
                  <a:lnTo>
                    <a:pt x="275" y="274"/>
                  </a:lnTo>
                  <a:lnTo>
                    <a:pt x="275" y="277"/>
                  </a:lnTo>
                  <a:lnTo>
                    <a:pt x="275" y="280"/>
                  </a:lnTo>
                  <a:lnTo>
                    <a:pt x="277" y="283"/>
                  </a:lnTo>
                  <a:lnTo>
                    <a:pt x="277" y="286"/>
                  </a:lnTo>
                  <a:lnTo>
                    <a:pt x="277" y="289"/>
                  </a:lnTo>
                  <a:lnTo>
                    <a:pt x="275" y="292"/>
                  </a:lnTo>
                  <a:lnTo>
                    <a:pt x="275" y="295"/>
                  </a:lnTo>
                  <a:lnTo>
                    <a:pt x="272" y="298"/>
                  </a:lnTo>
                  <a:lnTo>
                    <a:pt x="275" y="304"/>
                  </a:lnTo>
                  <a:lnTo>
                    <a:pt x="275" y="310"/>
                  </a:lnTo>
                  <a:lnTo>
                    <a:pt x="275" y="313"/>
                  </a:lnTo>
                  <a:lnTo>
                    <a:pt x="272" y="316"/>
                  </a:lnTo>
                  <a:lnTo>
                    <a:pt x="272" y="319"/>
                  </a:lnTo>
                  <a:lnTo>
                    <a:pt x="272" y="321"/>
                  </a:lnTo>
                  <a:lnTo>
                    <a:pt x="272" y="324"/>
                  </a:lnTo>
                  <a:lnTo>
                    <a:pt x="272" y="327"/>
                  </a:lnTo>
                  <a:lnTo>
                    <a:pt x="269" y="333"/>
                  </a:lnTo>
                  <a:lnTo>
                    <a:pt x="269" y="339"/>
                  </a:lnTo>
                  <a:lnTo>
                    <a:pt x="266" y="342"/>
                  </a:lnTo>
                  <a:lnTo>
                    <a:pt x="266" y="345"/>
                  </a:lnTo>
                  <a:lnTo>
                    <a:pt x="269" y="348"/>
                  </a:lnTo>
                  <a:lnTo>
                    <a:pt x="275" y="351"/>
                  </a:lnTo>
                  <a:lnTo>
                    <a:pt x="277" y="351"/>
                  </a:lnTo>
                  <a:lnTo>
                    <a:pt x="283" y="348"/>
                  </a:lnTo>
                  <a:lnTo>
                    <a:pt x="286" y="351"/>
                  </a:lnTo>
                  <a:lnTo>
                    <a:pt x="286" y="354"/>
                  </a:lnTo>
                  <a:lnTo>
                    <a:pt x="292" y="357"/>
                  </a:lnTo>
                  <a:lnTo>
                    <a:pt x="292" y="360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9"/>
                  </a:lnTo>
                  <a:lnTo>
                    <a:pt x="283" y="372"/>
                  </a:lnTo>
                  <a:lnTo>
                    <a:pt x="280" y="375"/>
                  </a:lnTo>
                  <a:lnTo>
                    <a:pt x="277" y="378"/>
                  </a:lnTo>
                  <a:lnTo>
                    <a:pt x="277" y="380"/>
                  </a:lnTo>
                  <a:lnTo>
                    <a:pt x="277" y="389"/>
                  </a:lnTo>
                  <a:lnTo>
                    <a:pt x="275" y="392"/>
                  </a:lnTo>
                  <a:lnTo>
                    <a:pt x="275" y="395"/>
                  </a:lnTo>
                  <a:lnTo>
                    <a:pt x="272" y="398"/>
                  </a:lnTo>
                  <a:lnTo>
                    <a:pt x="272" y="401"/>
                  </a:lnTo>
                  <a:lnTo>
                    <a:pt x="269" y="401"/>
                  </a:lnTo>
                  <a:lnTo>
                    <a:pt x="269" y="404"/>
                  </a:lnTo>
                  <a:lnTo>
                    <a:pt x="266" y="404"/>
                  </a:lnTo>
                  <a:lnTo>
                    <a:pt x="266" y="407"/>
                  </a:lnTo>
                  <a:lnTo>
                    <a:pt x="263" y="410"/>
                  </a:lnTo>
                  <a:lnTo>
                    <a:pt x="260" y="410"/>
                  </a:lnTo>
                  <a:lnTo>
                    <a:pt x="263" y="416"/>
                  </a:lnTo>
                  <a:lnTo>
                    <a:pt x="263" y="419"/>
                  </a:lnTo>
                  <a:lnTo>
                    <a:pt x="266" y="422"/>
                  </a:lnTo>
                  <a:lnTo>
                    <a:pt x="269" y="422"/>
                  </a:lnTo>
                  <a:lnTo>
                    <a:pt x="272" y="425"/>
                  </a:lnTo>
                  <a:lnTo>
                    <a:pt x="272" y="428"/>
                  </a:lnTo>
                  <a:lnTo>
                    <a:pt x="272" y="431"/>
                  </a:lnTo>
                  <a:lnTo>
                    <a:pt x="269" y="437"/>
                  </a:lnTo>
                  <a:lnTo>
                    <a:pt x="263" y="437"/>
                  </a:lnTo>
                  <a:lnTo>
                    <a:pt x="263" y="440"/>
                  </a:lnTo>
                  <a:lnTo>
                    <a:pt x="263" y="442"/>
                  </a:lnTo>
                  <a:lnTo>
                    <a:pt x="263" y="445"/>
                  </a:lnTo>
                  <a:lnTo>
                    <a:pt x="263" y="448"/>
                  </a:lnTo>
                  <a:lnTo>
                    <a:pt x="269" y="451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2" y="463"/>
                  </a:lnTo>
                  <a:lnTo>
                    <a:pt x="269" y="466"/>
                  </a:lnTo>
                  <a:lnTo>
                    <a:pt x="266" y="463"/>
                  </a:lnTo>
                  <a:lnTo>
                    <a:pt x="266" y="466"/>
                  </a:lnTo>
                  <a:lnTo>
                    <a:pt x="266" y="472"/>
                  </a:lnTo>
                  <a:lnTo>
                    <a:pt x="260" y="478"/>
                  </a:lnTo>
                  <a:lnTo>
                    <a:pt x="260" y="481"/>
                  </a:lnTo>
                  <a:lnTo>
                    <a:pt x="257" y="484"/>
                  </a:lnTo>
                  <a:lnTo>
                    <a:pt x="254" y="484"/>
                  </a:lnTo>
                  <a:lnTo>
                    <a:pt x="251" y="484"/>
                  </a:lnTo>
                  <a:lnTo>
                    <a:pt x="251" y="487"/>
                  </a:lnTo>
                  <a:lnTo>
                    <a:pt x="251" y="484"/>
                  </a:lnTo>
                  <a:lnTo>
                    <a:pt x="245" y="481"/>
                  </a:lnTo>
                  <a:lnTo>
                    <a:pt x="239" y="478"/>
                  </a:lnTo>
                  <a:lnTo>
                    <a:pt x="233" y="472"/>
                  </a:lnTo>
                  <a:lnTo>
                    <a:pt x="230" y="469"/>
                  </a:lnTo>
                  <a:lnTo>
                    <a:pt x="224" y="463"/>
                  </a:lnTo>
                  <a:lnTo>
                    <a:pt x="218" y="454"/>
                  </a:lnTo>
                  <a:lnTo>
                    <a:pt x="215" y="451"/>
                  </a:lnTo>
                  <a:lnTo>
                    <a:pt x="213" y="445"/>
                  </a:lnTo>
                  <a:lnTo>
                    <a:pt x="210" y="442"/>
                  </a:lnTo>
                  <a:lnTo>
                    <a:pt x="201" y="434"/>
                  </a:lnTo>
                  <a:lnTo>
                    <a:pt x="195" y="431"/>
                  </a:lnTo>
                  <a:lnTo>
                    <a:pt x="195" y="428"/>
                  </a:lnTo>
                  <a:lnTo>
                    <a:pt x="192" y="425"/>
                  </a:lnTo>
                  <a:lnTo>
                    <a:pt x="192" y="422"/>
                  </a:lnTo>
                  <a:lnTo>
                    <a:pt x="189" y="422"/>
                  </a:lnTo>
                  <a:lnTo>
                    <a:pt x="186" y="419"/>
                  </a:lnTo>
                  <a:lnTo>
                    <a:pt x="183" y="416"/>
                  </a:lnTo>
                  <a:lnTo>
                    <a:pt x="183" y="413"/>
                  </a:lnTo>
                  <a:lnTo>
                    <a:pt x="183" y="407"/>
                  </a:lnTo>
                  <a:lnTo>
                    <a:pt x="180" y="404"/>
                  </a:lnTo>
                  <a:lnTo>
                    <a:pt x="180" y="398"/>
                  </a:lnTo>
                  <a:lnTo>
                    <a:pt x="177" y="395"/>
                  </a:lnTo>
                  <a:lnTo>
                    <a:pt x="174" y="392"/>
                  </a:lnTo>
                  <a:lnTo>
                    <a:pt x="174" y="389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5" y="372"/>
                  </a:lnTo>
                  <a:lnTo>
                    <a:pt x="162" y="366"/>
                  </a:lnTo>
                  <a:lnTo>
                    <a:pt x="159" y="360"/>
                  </a:lnTo>
                  <a:lnTo>
                    <a:pt x="159" y="354"/>
                  </a:lnTo>
                  <a:lnTo>
                    <a:pt x="156" y="348"/>
                  </a:lnTo>
                  <a:lnTo>
                    <a:pt x="156" y="345"/>
                  </a:lnTo>
                  <a:lnTo>
                    <a:pt x="156" y="339"/>
                  </a:lnTo>
                  <a:lnTo>
                    <a:pt x="156" y="333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4" y="319"/>
                  </a:lnTo>
                  <a:lnTo>
                    <a:pt x="154" y="316"/>
                  </a:lnTo>
                  <a:lnTo>
                    <a:pt x="156" y="313"/>
                  </a:lnTo>
                  <a:lnTo>
                    <a:pt x="159" y="313"/>
                  </a:lnTo>
                  <a:lnTo>
                    <a:pt x="162" y="316"/>
                  </a:lnTo>
                  <a:lnTo>
                    <a:pt x="162" y="319"/>
                  </a:lnTo>
                  <a:lnTo>
                    <a:pt x="165" y="321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33"/>
                  </a:lnTo>
                  <a:lnTo>
                    <a:pt x="165" y="339"/>
                  </a:lnTo>
                  <a:lnTo>
                    <a:pt x="168" y="339"/>
                  </a:lnTo>
                  <a:lnTo>
                    <a:pt x="168" y="345"/>
                  </a:lnTo>
                  <a:lnTo>
                    <a:pt x="165" y="351"/>
                  </a:lnTo>
                  <a:lnTo>
                    <a:pt x="168" y="354"/>
                  </a:lnTo>
                  <a:lnTo>
                    <a:pt x="177" y="354"/>
                  </a:lnTo>
                  <a:lnTo>
                    <a:pt x="180" y="354"/>
                  </a:lnTo>
                  <a:lnTo>
                    <a:pt x="180" y="351"/>
                  </a:lnTo>
                  <a:lnTo>
                    <a:pt x="180" y="348"/>
                  </a:lnTo>
                  <a:lnTo>
                    <a:pt x="177" y="348"/>
                  </a:lnTo>
                  <a:lnTo>
                    <a:pt x="177" y="345"/>
                  </a:lnTo>
                  <a:lnTo>
                    <a:pt x="177" y="342"/>
                  </a:lnTo>
                  <a:lnTo>
                    <a:pt x="174" y="336"/>
                  </a:lnTo>
                  <a:lnTo>
                    <a:pt x="174" y="330"/>
                  </a:lnTo>
                  <a:lnTo>
                    <a:pt x="168" y="321"/>
                  </a:lnTo>
                  <a:lnTo>
                    <a:pt x="168" y="319"/>
                  </a:lnTo>
                  <a:lnTo>
                    <a:pt x="168" y="316"/>
                  </a:lnTo>
                  <a:lnTo>
                    <a:pt x="165" y="310"/>
                  </a:lnTo>
                  <a:lnTo>
                    <a:pt x="162" y="307"/>
                  </a:lnTo>
                  <a:lnTo>
                    <a:pt x="162" y="304"/>
                  </a:lnTo>
                  <a:lnTo>
                    <a:pt x="159" y="295"/>
                  </a:lnTo>
                  <a:lnTo>
                    <a:pt x="156" y="292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6" y="301"/>
                  </a:lnTo>
                  <a:lnTo>
                    <a:pt x="156" y="304"/>
                  </a:lnTo>
                  <a:lnTo>
                    <a:pt x="156" y="307"/>
                  </a:lnTo>
                  <a:lnTo>
                    <a:pt x="156" y="310"/>
                  </a:lnTo>
                  <a:lnTo>
                    <a:pt x="154" y="307"/>
                  </a:lnTo>
                  <a:lnTo>
                    <a:pt x="151" y="307"/>
                  </a:lnTo>
                  <a:lnTo>
                    <a:pt x="151" y="301"/>
                  </a:lnTo>
                  <a:lnTo>
                    <a:pt x="151" y="298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89"/>
                  </a:lnTo>
                  <a:lnTo>
                    <a:pt x="148" y="286"/>
                  </a:lnTo>
                  <a:lnTo>
                    <a:pt x="145" y="283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42" y="277"/>
                  </a:lnTo>
                  <a:lnTo>
                    <a:pt x="139" y="271"/>
                  </a:lnTo>
                  <a:lnTo>
                    <a:pt x="139" y="262"/>
                  </a:lnTo>
                  <a:lnTo>
                    <a:pt x="136" y="254"/>
                  </a:lnTo>
                  <a:lnTo>
                    <a:pt x="133" y="248"/>
                  </a:lnTo>
                  <a:lnTo>
                    <a:pt x="130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4" y="233"/>
                  </a:lnTo>
                  <a:lnTo>
                    <a:pt x="121" y="224"/>
                  </a:lnTo>
                  <a:lnTo>
                    <a:pt x="118" y="221"/>
                  </a:lnTo>
                  <a:lnTo>
                    <a:pt x="118" y="215"/>
                  </a:lnTo>
                  <a:lnTo>
                    <a:pt x="115" y="212"/>
                  </a:lnTo>
                  <a:lnTo>
                    <a:pt x="115" y="206"/>
                  </a:lnTo>
                  <a:lnTo>
                    <a:pt x="112" y="198"/>
                  </a:lnTo>
                  <a:lnTo>
                    <a:pt x="109" y="189"/>
                  </a:lnTo>
                  <a:lnTo>
                    <a:pt x="106" y="180"/>
                  </a:lnTo>
                  <a:lnTo>
                    <a:pt x="106" y="177"/>
                  </a:lnTo>
                  <a:lnTo>
                    <a:pt x="109" y="174"/>
                  </a:lnTo>
                  <a:lnTo>
                    <a:pt x="106" y="174"/>
                  </a:lnTo>
                  <a:lnTo>
                    <a:pt x="103" y="171"/>
                  </a:lnTo>
                  <a:lnTo>
                    <a:pt x="100" y="165"/>
                  </a:lnTo>
                  <a:lnTo>
                    <a:pt x="97" y="159"/>
                  </a:lnTo>
                  <a:lnTo>
                    <a:pt x="97" y="153"/>
                  </a:lnTo>
                  <a:lnTo>
                    <a:pt x="94" y="150"/>
                  </a:lnTo>
                  <a:lnTo>
                    <a:pt x="92" y="144"/>
                  </a:lnTo>
                  <a:lnTo>
                    <a:pt x="89" y="139"/>
                  </a:lnTo>
                  <a:lnTo>
                    <a:pt x="83" y="139"/>
                  </a:lnTo>
                  <a:lnTo>
                    <a:pt x="80" y="136"/>
                  </a:lnTo>
                  <a:lnTo>
                    <a:pt x="80" y="133"/>
                  </a:lnTo>
                  <a:lnTo>
                    <a:pt x="77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3" y="121"/>
                  </a:lnTo>
                  <a:lnTo>
                    <a:pt x="83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1" y="112"/>
                  </a:lnTo>
                  <a:lnTo>
                    <a:pt x="68" y="109"/>
                  </a:lnTo>
                  <a:lnTo>
                    <a:pt x="65" y="106"/>
                  </a:lnTo>
                  <a:lnTo>
                    <a:pt x="62" y="103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0" y="94"/>
                  </a:lnTo>
                  <a:lnTo>
                    <a:pt x="50" y="88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41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3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3" y="65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24" y="47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15" y="35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0"/>
                  </a:lnTo>
                  <a:lnTo>
                    <a:pt x="6" y="18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8" name="Freeform 12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240917" y="1647066"/>
              <a:ext cx="86909" cy="129912"/>
            </a:xfrm>
            <a:custGeom>
              <a:avLst/>
              <a:gdLst>
                <a:gd name="T0" fmla="*/ 71 w 526"/>
                <a:gd name="T1" fmla="*/ 569 h 732"/>
                <a:gd name="T2" fmla="*/ 68 w 526"/>
                <a:gd name="T3" fmla="*/ 516 h 732"/>
                <a:gd name="T4" fmla="*/ 59 w 526"/>
                <a:gd name="T5" fmla="*/ 490 h 732"/>
                <a:gd name="T6" fmla="*/ 42 w 526"/>
                <a:gd name="T7" fmla="*/ 442 h 732"/>
                <a:gd name="T8" fmla="*/ 36 w 526"/>
                <a:gd name="T9" fmla="*/ 410 h 732"/>
                <a:gd name="T10" fmla="*/ 21 w 526"/>
                <a:gd name="T11" fmla="*/ 392 h 732"/>
                <a:gd name="T12" fmla="*/ 12 w 526"/>
                <a:gd name="T13" fmla="*/ 366 h 732"/>
                <a:gd name="T14" fmla="*/ 27 w 526"/>
                <a:gd name="T15" fmla="*/ 348 h 732"/>
                <a:gd name="T16" fmla="*/ 24 w 526"/>
                <a:gd name="T17" fmla="*/ 277 h 732"/>
                <a:gd name="T18" fmla="*/ 42 w 526"/>
                <a:gd name="T19" fmla="*/ 262 h 732"/>
                <a:gd name="T20" fmla="*/ 56 w 526"/>
                <a:gd name="T21" fmla="*/ 218 h 732"/>
                <a:gd name="T22" fmla="*/ 36 w 526"/>
                <a:gd name="T23" fmla="*/ 192 h 732"/>
                <a:gd name="T24" fmla="*/ 74 w 526"/>
                <a:gd name="T25" fmla="*/ 183 h 732"/>
                <a:gd name="T26" fmla="*/ 110 w 526"/>
                <a:gd name="T27" fmla="*/ 156 h 732"/>
                <a:gd name="T28" fmla="*/ 163 w 526"/>
                <a:gd name="T29" fmla="*/ 147 h 732"/>
                <a:gd name="T30" fmla="*/ 201 w 526"/>
                <a:gd name="T31" fmla="*/ 124 h 732"/>
                <a:gd name="T32" fmla="*/ 210 w 526"/>
                <a:gd name="T33" fmla="*/ 100 h 732"/>
                <a:gd name="T34" fmla="*/ 228 w 526"/>
                <a:gd name="T35" fmla="*/ 106 h 732"/>
                <a:gd name="T36" fmla="*/ 269 w 526"/>
                <a:gd name="T37" fmla="*/ 109 h 732"/>
                <a:gd name="T38" fmla="*/ 295 w 526"/>
                <a:gd name="T39" fmla="*/ 76 h 732"/>
                <a:gd name="T40" fmla="*/ 331 w 526"/>
                <a:gd name="T41" fmla="*/ 59 h 732"/>
                <a:gd name="T42" fmla="*/ 366 w 526"/>
                <a:gd name="T43" fmla="*/ 26 h 732"/>
                <a:gd name="T44" fmla="*/ 405 w 526"/>
                <a:gd name="T45" fmla="*/ 12 h 732"/>
                <a:gd name="T46" fmla="*/ 425 w 526"/>
                <a:gd name="T47" fmla="*/ 38 h 732"/>
                <a:gd name="T48" fmla="*/ 405 w 526"/>
                <a:gd name="T49" fmla="*/ 85 h 732"/>
                <a:gd name="T50" fmla="*/ 425 w 526"/>
                <a:gd name="T51" fmla="*/ 103 h 732"/>
                <a:gd name="T52" fmla="*/ 411 w 526"/>
                <a:gd name="T53" fmla="*/ 150 h 732"/>
                <a:gd name="T54" fmla="*/ 402 w 526"/>
                <a:gd name="T55" fmla="*/ 200 h 732"/>
                <a:gd name="T56" fmla="*/ 414 w 526"/>
                <a:gd name="T57" fmla="*/ 224 h 732"/>
                <a:gd name="T58" fmla="*/ 402 w 526"/>
                <a:gd name="T59" fmla="*/ 268 h 732"/>
                <a:gd name="T60" fmla="*/ 363 w 526"/>
                <a:gd name="T61" fmla="*/ 268 h 732"/>
                <a:gd name="T62" fmla="*/ 352 w 526"/>
                <a:gd name="T63" fmla="*/ 301 h 732"/>
                <a:gd name="T64" fmla="*/ 360 w 526"/>
                <a:gd name="T65" fmla="*/ 336 h 732"/>
                <a:gd name="T66" fmla="*/ 328 w 526"/>
                <a:gd name="T67" fmla="*/ 360 h 732"/>
                <a:gd name="T68" fmla="*/ 319 w 526"/>
                <a:gd name="T69" fmla="*/ 392 h 732"/>
                <a:gd name="T70" fmla="*/ 334 w 526"/>
                <a:gd name="T71" fmla="*/ 431 h 732"/>
                <a:gd name="T72" fmla="*/ 355 w 526"/>
                <a:gd name="T73" fmla="*/ 445 h 732"/>
                <a:gd name="T74" fmla="*/ 387 w 526"/>
                <a:gd name="T75" fmla="*/ 448 h 732"/>
                <a:gd name="T76" fmla="*/ 387 w 526"/>
                <a:gd name="T77" fmla="*/ 460 h 732"/>
                <a:gd name="T78" fmla="*/ 381 w 526"/>
                <a:gd name="T79" fmla="*/ 490 h 732"/>
                <a:gd name="T80" fmla="*/ 343 w 526"/>
                <a:gd name="T81" fmla="*/ 463 h 732"/>
                <a:gd name="T82" fmla="*/ 337 w 526"/>
                <a:gd name="T83" fmla="*/ 478 h 732"/>
                <a:gd name="T84" fmla="*/ 357 w 526"/>
                <a:gd name="T85" fmla="*/ 495 h 732"/>
                <a:gd name="T86" fmla="*/ 393 w 526"/>
                <a:gd name="T87" fmla="*/ 498 h 732"/>
                <a:gd name="T88" fmla="*/ 425 w 526"/>
                <a:gd name="T89" fmla="*/ 501 h 732"/>
                <a:gd name="T90" fmla="*/ 452 w 526"/>
                <a:gd name="T91" fmla="*/ 495 h 732"/>
                <a:gd name="T92" fmla="*/ 470 w 526"/>
                <a:gd name="T93" fmla="*/ 513 h 732"/>
                <a:gd name="T94" fmla="*/ 505 w 526"/>
                <a:gd name="T95" fmla="*/ 552 h 732"/>
                <a:gd name="T96" fmla="*/ 520 w 526"/>
                <a:gd name="T97" fmla="*/ 581 h 732"/>
                <a:gd name="T98" fmla="*/ 493 w 526"/>
                <a:gd name="T99" fmla="*/ 605 h 732"/>
                <a:gd name="T100" fmla="*/ 437 w 526"/>
                <a:gd name="T101" fmla="*/ 602 h 732"/>
                <a:gd name="T102" fmla="*/ 411 w 526"/>
                <a:gd name="T103" fmla="*/ 646 h 732"/>
                <a:gd name="T104" fmla="*/ 414 w 526"/>
                <a:gd name="T105" fmla="*/ 673 h 732"/>
                <a:gd name="T106" fmla="*/ 402 w 526"/>
                <a:gd name="T107" fmla="*/ 699 h 732"/>
                <a:gd name="T108" fmla="*/ 346 w 526"/>
                <a:gd name="T109" fmla="*/ 720 h 732"/>
                <a:gd name="T110" fmla="*/ 278 w 526"/>
                <a:gd name="T111" fmla="*/ 726 h 732"/>
                <a:gd name="T112" fmla="*/ 234 w 526"/>
                <a:gd name="T113" fmla="*/ 705 h 732"/>
                <a:gd name="T114" fmla="*/ 195 w 526"/>
                <a:gd name="T115" fmla="*/ 690 h 732"/>
                <a:gd name="T116" fmla="*/ 142 w 526"/>
                <a:gd name="T117" fmla="*/ 649 h 732"/>
                <a:gd name="T118" fmla="*/ 127 w 526"/>
                <a:gd name="T119" fmla="*/ 614 h 732"/>
                <a:gd name="T120" fmla="*/ 92 w 526"/>
                <a:gd name="T121" fmla="*/ 599 h 7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732"/>
                <a:gd name="T185" fmla="*/ 526 w 526"/>
                <a:gd name="T186" fmla="*/ 732 h 7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732">
                  <a:moveTo>
                    <a:pt x="80" y="596"/>
                  </a:moveTo>
                  <a:lnTo>
                    <a:pt x="77" y="593"/>
                  </a:lnTo>
                  <a:lnTo>
                    <a:pt x="77" y="590"/>
                  </a:lnTo>
                  <a:lnTo>
                    <a:pt x="77" y="587"/>
                  </a:lnTo>
                  <a:lnTo>
                    <a:pt x="80" y="587"/>
                  </a:lnTo>
                  <a:lnTo>
                    <a:pt x="83" y="587"/>
                  </a:lnTo>
                  <a:lnTo>
                    <a:pt x="83" y="584"/>
                  </a:lnTo>
                  <a:lnTo>
                    <a:pt x="77" y="584"/>
                  </a:lnTo>
                  <a:lnTo>
                    <a:pt x="74" y="584"/>
                  </a:lnTo>
                  <a:lnTo>
                    <a:pt x="74" y="581"/>
                  </a:lnTo>
                  <a:lnTo>
                    <a:pt x="74" y="578"/>
                  </a:lnTo>
                  <a:lnTo>
                    <a:pt x="74" y="581"/>
                  </a:lnTo>
                  <a:lnTo>
                    <a:pt x="71" y="581"/>
                  </a:lnTo>
                  <a:lnTo>
                    <a:pt x="71" y="569"/>
                  </a:lnTo>
                  <a:lnTo>
                    <a:pt x="71" y="557"/>
                  </a:lnTo>
                  <a:lnTo>
                    <a:pt x="71" y="560"/>
                  </a:lnTo>
                  <a:lnTo>
                    <a:pt x="65" y="546"/>
                  </a:lnTo>
                  <a:lnTo>
                    <a:pt x="65" y="540"/>
                  </a:lnTo>
                  <a:lnTo>
                    <a:pt x="62" y="534"/>
                  </a:lnTo>
                  <a:lnTo>
                    <a:pt x="62" y="528"/>
                  </a:lnTo>
                  <a:lnTo>
                    <a:pt x="62" y="525"/>
                  </a:lnTo>
                  <a:lnTo>
                    <a:pt x="62" y="519"/>
                  </a:lnTo>
                  <a:lnTo>
                    <a:pt x="62" y="522"/>
                  </a:lnTo>
                  <a:lnTo>
                    <a:pt x="65" y="525"/>
                  </a:lnTo>
                  <a:lnTo>
                    <a:pt x="68" y="525"/>
                  </a:lnTo>
                  <a:lnTo>
                    <a:pt x="65" y="522"/>
                  </a:lnTo>
                  <a:lnTo>
                    <a:pt x="68" y="519"/>
                  </a:lnTo>
                  <a:lnTo>
                    <a:pt x="68" y="516"/>
                  </a:lnTo>
                  <a:lnTo>
                    <a:pt x="65" y="519"/>
                  </a:lnTo>
                  <a:lnTo>
                    <a:pt x="62" y="516"/>
                  </a:lnTo>
                  <a:lnTo>
                    <a:pt x="59" y="507"/>
                  </a:lnTo>
                  <a:lnTo>
                    <a:pt x="59" y="504"/>
                  </a:lnTo>
                  <a:lnTo>
                    <a:pt x="59" y="501"/>
                  </a:lnTo>
                  <a:lnTo>
                    <a:pt x="65" y="501"/>
                  </a:lnTo>
                  <a:lnTo>
                    <a:pt x="68" y="501"/>
                  </a:lnTo>
                  <a:lnTo>
                    <a:pt x="71" y="501"/>
                  </a:lnTo>
                  <a:lnTo>
                    <a:pt x="68" y="498"/>
                  </a:lnTo>
                  <a:lnTo>
                    <a:pt x="65" y="498"/>
                  </a:lnTo>
                  <a:lnTo>
                    <a:pt x="65" y="495"/>
                  </a:lnTo>
                  <a:lnTo>
                    <a:pt x="65" y="493"/>
                  </a:lnTo>
                  <a:lnTo>
                    <a:pt x="62" y="490"/>
                  </a:lnTo>
                  <a:lnTo>
                    <a:pt x="59" y="490"/>
                  </a:lnTo>
                  <a:lnTo>
                    <a:pt x="62" y="493"/>
                  </a:lnTo>
                  <a:lnTo>
                    <a:pt x="62" y="495"/>
                  </a:lnTo>
                  <a:lnTo>
                    <a:pt x="59" y="498"/>
                  </a:lnTo>
                  <a:lnTo>
                    <a:pt x="56" y="498"/>
                  </a:lnTo>
                  <a:lnTo>
                    <a:pt x="56" y="493"/>
                  </a:lnTo>
                  <a:lnTo>
                    <a:pt x="56" y="487"/>
                  </a:lnTo>
                  <a:lnTo>
                    <a:pt x="56" y="484"/>
                  </a:lnTo>
                  <a:lnTo>
                    <a:pt x="56" y="478"/>
                  </a:lnTo>
                  <a:lnTo>
                    <a:pt x="53" y="475"/>
                  </a:lnTo>
                  <a:lnTo>
                    <a:pt x="51" y="469"/>
                  </a:lnTo>
                  <a:lnTo>
                    <a:pt x="48" y="463"/>
                  </a:lnTo>
                  <a:lnTo>
                    <a:pt x="45" y="460"/>
                  </a:lnTo>
                  <a:lnTo>
                    <a:pt x="42" y="451"/>
                  </a:lnTo>
                  <a:lnTo>
                    <a:pt x="42" y="442"/>
                  </a:lnTo>
                  <a:lnTo>
                    <a:pt x="39" y="439"/>
                  </a:lnTo>
                  <a:lnTo>
                    <a:pt x="39" y="434"/>
                  </a:lnTo>
                  <a:lnTo>
                    <a:pt x="39" y="431"/>
                  </a:lnTo>
                  <a:lnTo>
                    <a:pt x="42" y="431"/>
                  </a:lnTo>
                  <a:lnTo>
                    <a:pt x="39" y="431"/>
                  </a:lnTo>
                  <a:lnTo>
                    <a:pt x="36" y="428"/>
                  </a:lnTo>
                  <a:lnTo>
                    <a:pt x="33" y="419"/>
                  </a:lnTo>
                  <a:lnTo>
                    <a:pt x="33" y="413"/>
                  </a:lnTo>
                  <a:lnTo>
                    <a:pt x="30" y="407"/>
                  </a:lnTo>
                  <a:lnTo>
                    <a:pt x="30" y="404"/>
                  </a:lnTo>
                  <a:lnTo>
                    <a:pt x="33" y="401"/>
                  </a:lnTo>
                  <a:lnTo>
                    <a:pt x="33" y="407"/>
                  </a:lnTo>
                  <a:lnTo>
                    <a:pt x="33" y="410"/>
                  </a:lnTo>
                  <a:lnTo>
                    <a:pt x="36" y="410"/>
                  </a:lnTo>
                  <a:lnTo>
                    <a:pt x="39" y="407"/>
                  </a:lnTo>
                  <a:lnTo>
                    <a:pt x="36" y="407"/>
                  </a:lnTo>
                  <a:lnTo>
                    <a:pt x="33" y="404"/>
                  </a:lnTo>
                  <a:lnTo>
                    <a:pt x="33" y="401"/>
                  </a:lnTo>
                  <a:lnTo>
                    <a:pt x="33" y="398"/>
                  </a:lnTo>
                  <a:lnTo>
                    <a:pt x="30" y="398"/>
                  </a:lnTo>
                  <a:lnTo>
                    <a:pt x="30" y="401"/>
                  </a:lnTo>
                  <a:lnTo>
                    <a:pt x="27" y="401"/>
                  </a:lnTo>
                  <a:lnTo>
                    <a:pt x="24" y="398"/>
                  </a:lnTo>
                  <a:lnTo>
                    <a:pt x="24" y="395"/>
                  </a:lnTo>
                  <a:lnTo>
                    <a:pt x="27" y="395"/>
                  </a:lnTo>
                  <a:lnTo>
                    <a:pt x="27" y="392"/>
                  </a:lnTo>
                  <a:lnTo>
                    <a:pt x="24" y="392"/>
                  </a:lnTo>
                  <a:lnTo>
                    <a:pt x="21" y="392"/>
                  </a:lnTo>
                  <a:lnTo>
                    <a:pt x="21" y="383"/>
                  </a:lnTo>
                  <a:lnTo>
                    <a:pt x="21" y="380"/>
                  </a:lnTo>
                  <a:lnTo>
                    <a:pt x="18" y="380"/>
                  </a:lnTo>
                  <a:lnTo>
                    <a:pt x="15" y="380"/>
                  </a:lnTo>
                  <a:lnTo>
                    <a:pt x="12" y="380"/>
                  </a:lnTo>
                  <a:lnTo>
                    <a:pt x="9" y="377"/>
                  </a:lnTo>
                  <a:lnTo>
                    <a:pt x="9" y="374"/>
                  </a:lnTo>
                  <a:lnTo>
                    <a:pt x="6" y="374"/>
                  </a:lnTo>
                  <a:lnTo>
                    <a:pt x="0" y="372"/>
                  </a:lnTo>
                  <a:lnTo>
                    <a:pt x="3" y="372"/>
                  </a:lnTo>
                  <a:lnTo>
                    <a:pt x="3" y="369"/>
                  </a:lnTo>
                  <a:lnTo>
                    <a:pt x="6" y="369"/>
                  </a:lnTo>
                  <a:lnTo>
                    <a:pt x="9" y="369"/>
                  </a:lnTo>
                  <a:lnTo>
                    <a:pt x="12" y="366"/>
                  </a:lnTo>
                  <a:lnTo>
                    <a:pt x="15" y="366"/>
                  </a:lnTo>
                  <a:lnTo>
                    <a:pt x="18" y="363"/>
                  </a:lnTo>
                  <a:lnTo>
                    <a:pt x="9" y="366"/>
                  </a:lnTo>
                  <a:lnTo>
                    <a:pt x="6" y="366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12" y="357"/>
                  </a:lnTo>
                  <a:lnTo>
                    <a:pt x="18" y="357"/>
                  </a:lnTo>
                  <a:lnTo>
                    <a:pt x="21" y="357"/>
                  </a:lnTo>
                  <a:lnTo>
                    <a:pt x="24" y="354"/>
                  </a:lnTo>
                  <a:lnTo>
                    <a:pt x="27" y="348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7" y="336"/>
                  </a:lnTo>
                  <a:lnTo>
                    <a:pt x="30" y="333"/>
                  </a:lnTo>
                  <a:lnTo>
                    <a:pt x="27" y="330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30" y="321"/>
                  </a:lnTo>
                  <a:lnTo>
                    <a:pt x="30" y="315"/>
                  </a:lnTo>
                  <a:lnTo>
                    <a:pt x="27" y="310"/>
                  </a:lnTo>
                  <a:lnTo>
                    <a:pt x="27" y="304"/>
                  </a:lnTo>
                  <a:lnTo>
                    <a:pt x="27" y="301"/>
                  </a:lnTo>
                  <a:lnTo>
                    <a:pt x="27" y="298"/>
                  </a:lnTo>
                  <a:lnTo>
                    <a:pt x="24" y="277"/>
                  </a:lnTo>
                  <a:lnTo>
                    <a:pt x="18" y="277"/>
                  </a:lnTo>
                  <a:lnTo>
                    <a:pt x="15" y="280"/>
                  </a:lnTo>
                  <a:lnTo>
                    <a:pt x="12" y="280"/>
                  </a:lnTo>
                  <a:lnTo>
                    <a:pt x="12" y="277"/>
                  </a:lnTo>
                  <a:lnTo>
                    <a:pt x="12" y="274"/>
                  </a:lnTo>
                  <a:lnTo>
                    <a:pt x="15" y="271"/>
                  </a:lnTo>
                  <a:lnTo>
                    <a:pt x="18" y="268"/>
                  </a:lnTo>
                  <a:lnTo>
                    <a:pt x="24" y="265"/>
                  </a:lnTo>
                  <a:lnTo>
                    <a:pt x="27" y="268"/>
                  </a:lnTo>
                  <a:lnTo>
                    <a:pt x="27" y="271"/>
                  </a:lnTo>
                  <a:lnTo>
                    <a:pt x="30" y="271"/>
                  </a:lnTo>
                  <a:lnTo>
                    <a:pt x="36" y="271"/>
                  </a:lnTo>
                  <a:lnTo>
                    <a:pt x="42" y="265"/>
                  </a:lnTo>
                  <a:lnTo>
                    <a:pt x="42" y="262"/>
                  </a:lnTo>
                  <a:lnTo>
                    <a:pt x="45" y="259"/>
                  </a:lnTo>
                  <a:lnTo>
                    <a:pt x="42" y="256"/>
                  </a:lnTo>
                  <a:lnTo>
                    <a:pt x="45" y="254"/>
                  </a:lnTo>
                  <a:lnTo>
                    <a:pt x="48" y="248"/>
                  </a:lnTo>
                  <a:lnTo>
                    <a:pt x="51" y="245"/>
                  </a:lnTo>
                  <a:lnTo>
                    <a:pt x="51" y="239"/>
                  </a:lnTo>
                  <a:lnTo>
                    <a:pt x="48" y="236"/>
                  </a:lnTo>
                  <a:lnTo>
                    <a:pt x="45" y="236"/>
                  </a:lnTo>
                  <a:lnTo>
                    <a:pt x="51" y="233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0"/>
                  </a:lnTo>
                  <a:lnTo>
                    <a:pt x="59" y="227"/>
                  </a:lnTo>
                  <a:lnTo>
                    <a:pt x="56" y="218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45" y="212"/>
                  </a:lnTo>
                  <a:lnTo>
                    <a:pt x="42" y="212"/>
                  </a:lnTo>
                  <a:lnTo>
                    <a:pt x="39" y="212"/>
                  </a:lnTo>
                  <a:lnTo>
                    <a:pt x="42" y="209"/>
                  </a:lnTo>
                  <a:lnTo>
                    <a:pt x="42" y="206"/>
                  </a:lnTo>
                  <a:lnTo>
                    <a:pt x="42" y="203"/>
                  </a:lnTo>
                  <a:lnTo>
                    <a:pt x="45" y="203"/>
                  </a:lnTo>
                  <a:lnTo>
                    <a:pt x="48" y="200"/>
                  </a:lnTo>
                  <a:lnTo>
                    <a:pt x="42" y="197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6" y="192"/>
                  </a:lnTo>
                  <a:lnTo>
                    <a:pt x="33" y="192"/>
                  </a:lnTo>
                  <a:lnTo>
                    <a:pt x="36" y="186"/>
                  </a:lnTo>
                  <a:lnTo>
                    <a:pt x="36" y="183"/>
                  </a:lnTo>
                  <a:lnTo>
                    <a:pt x="42" y="186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51" y="186"/>
                  </a:lnTo>
                  <a:lnTo>
                    <a:pt x="53" y="183"/>
                  </a:lnTo>
                  <a:lnTo>
                    <a:pt x="56" y="180"/>
                  </a:lnTo>
                  <a:lnTo>
                    <a:pt x="59" y="174"/>
                  </a:lnTo>
                  <a:lnTo>
                    <a:pt x="68" y="177"/>
                  </a:lnTo>
                  <a:lnTo>
                    <a:pt x="68" y="180"/>
                  </a:lnTo>
                  <a:lnTo>
                    <a:pt x="71" y="186"/>
                  </a:lnTo>
                  <a:lnTo>
                    <a:pt x="74" y="183"/>
                  </a:lnTo>
                  <a:lnTo>
                    <a:pt x="80" y="183"/>
                  </a:lnTo>
                  <a:lnTo>
                    <a:pt x="86" y="180"/>
                  </a:lnTo>
                  <a:lnTo>
                    <a:pt x="86" y="177"/>
                  </a:lnTo>
                  <a:lnTo>
                    <a:pt x="83" y="174"/>
                  </a:lnTo>
                  <a:lnTo>
                    <a:pt x="86" y="171"/>
                  </a:lnTo>
                  <a:lnTo>
                    <a:pt x="89" y="171"/>
                  </a:lnTo>
                  <a:lnTo>
                    <a:pt x="92" y="168"/>
                  </a:lnTo>
                  <a:lnTo>
                    <a:pt x="95" y="165"/>
                  </a:lnTo>
                  <a:lnTo>
                    <a:pt x="101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3" y="165"/>
                  </a:lnTo>
                  <a:lnTo>
                    <a:pt x="110" y="159"/>
                  </a:lnTo>
                  <a:lnTo>
                    <a:pt x="110" y="156"/>
                  </a:lnTo>
                  <a:lnTo>
                    <a:pt x="110" y="153"/>
                  </a:lnTo>
                  <a:lnTo>
                    <a:pt x="115" y="153"/>
                  </a:lnTo>
                  <a:lnTo>
                    <a:pt x="118" y="150"/>
                  </a:lnTo>
                  <a:lnTo>
                    <a:pt x="124" y="147"/>
                  </a:lnTo>
                  <a:lnTo>
                    <a:pt x="124" y="144"/>
                  </a:lnTo>
                  <a:lnTo>
                    <a:pt x="130" y="147"/>
                  </a:lnTo>
                  <a:lnTo>
                    <a:pt x="133" y="147"/>
                  </a:lnTo>
                  <a:lnTo>
                    <a:pt x="136" y="153"/>
                  </a:lnTo>
                  <a:lnTo>
                    <a:pt x="142" y="156"/>
                  </a:lnTo>
                  <a:lnTo>
                    <a:pt x="145" y="159"/>
                  </a:lnTo>
                  <a:lnTo>
                    <a:pt x="154" y="153"/>
                  </a:lnTo>
                  <a:lnTo>
                    <a:pt x="154" y="147"/>
                  </a:lnTo>
                  <a:lnTo>
                    <a:pt x="160" y="147"/>
                  </a:lnTo>
                  <a:lnTo>
                    <a:pt x="163" y="147"/>
                  </a:lnTo>
                  <a:lnTo>
                    <a:pt x="169" y="144"/>
                  </a:lnTo>
                  <a:lnTo>
                    <a:pt x="172" y="147"/>
                  </a:lnTo>
                  <a:lnTo>
                    <a:pt x="177" y="147"/>
                  </a:lnTo>
                  <a:lnTo>
                    <a:pt x="180" y="150"/>
                  </a:lnTo>
                  <a:lnTo>
                    <a:pt x="186" y="147"/>
                  </a:lnTo>
                  <a:lnTo>
                    <a:pt x="189" y="147"/>
                  </a:lnTo>
                  <a:lnTo>
                    <a:pt x="192" y="144"/>
                  </a:lnTo>
                  <a:lnTo>
                    <a:pt x="198" y="147"/>
                  </a:lnTo>
                  <a:lnTo>
                    <a:pt x="198" y="138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198" y="130"/>
                  </a:lnTo>
                  <a:lnTo>
                    <a:pt x="198" y="127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1" y="115"/>
                  </a:lnTo>
                  <a:lnTo>
                    <a:pt x="198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8" y="97"/>
                  </a:lnTo>
                  <a:lnTo>
                    <a:pt x="201" y="94"/>
                  </a:lnTo>
                  <a:lnTo>
                    <a:pt x="204" y="94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7" y="100"/>
                  </a:lnTo>
                  <a:lnTo>
                    <a:pt x="210" y="100"/>
                  </a:lnTo>
                  <a:lnTo>
                    <a:pt x="213" y="100"/>
                  </a:lnTo>
                  <a:lnTo>
                    <a:pt x="216" y="100"/>
                  </a:lnTo>
                  <a:lnTo>
                    <a:pt x="216" y="103"/>
                  </a:lnTo>
                  <a:lnTo>
                    <a:pt x="216" y="106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5" y="103"/>
                  </a:lnTo>
                  <a:lnTo>
                    <a:pt x="228" y="103"/>
                  </a:lnTo>
                  <a:lnTo>
                    <a:pt x="228" y="100"/>
                  </a:lnTo>
                  <a:lnTo>
                    <a:pt x="231" y="103"/>
                  </a:lnTo>
                  <a:lnTo>
                    <a:pt x="228" y="106"/>
                  </a:lnTo>
                  <a:lnTo>
                    <a:pt x="231" y="109"/>
                  </a:lnTo>
                  <a:lnTo>
                    <a:pt x="231" y="112"/>
                  </a:lnTo>
                  <a:lnTo>
                    <a:pt x="234" y="112"/>
                  </a:lnTo>
                  <a:lnTo>
                    <a:pt x="236" y="109"/>
                  </a:lnTo>
                  <a:lnTo>
                    <a:pt x="239" y="109"/>
                  </a:lnTo>
                  <a:lnTo>
                    <a:pt x="242" y="109"/>
                  </a:lnTo>
                  <a:lnTo>
                    <a:pt x="245" y="109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54" y="109"/>
                  </a:lnTo>
                  <a:lnTo>
                    <a:pt x="254" y="106"/>
                  </a:lnTo>
                  <a:lnTo>
                    <a:pt x="260" y="109"/>
                  </a:lnTo>
                  <a:lnTo>
                    <a:pt x="266" y="109"/>
                  </a:lnTo>
                  <a:lnTo>
                    <a:pt x="269" y="109"/>
                  </a:lnTo>
                  <a:lnTo>
                    <a:pt x="275" y="112"/>
                  </a:lnTo>
                  <a:lnTo>
                    <a:pt x="281" y="112"/>
                  </a:lnTo>
                  <a:lnTo>
                    <a:pt x="287" y="112"/>
                  </a:lnTo>
                  <a:lnTo>
                    <a:pt x="287" y="109"/>
                  </a:lnTo>
                  <a:lnTo>
                    <a:pt x="284" y="103"/>
                  </a:lnTo>
                  <a:lnTo>
                    <a:pt x="284" y="100"/>
                  </a:lnTo>
                  <a:lnTo>
                    <a:pt x="281" y="97"/>
                  </a:lnTo>
                  <a:lnTo>
                    <a:pt x="281" y="94"/>
                  </a:lnTo>
                  <a:lnTo>
                    <a:pt x="284" y="91"/>
                  </a:lnTo>
                  <a:lnTo>
                    <a:pt x="281" y="88"/>
                  </a:lnTo>
                  <a:lnTo>
                    <a:pt x="281" y="85"/>
                  </a:lnTo>
                  <a:lnTo>
                    <a:pt x="287" y="82"/>
                  </a:lnTo>
                  <a:lnTo>
                    <a:pt x="290" y="76"/>
                  </a:lnTo>
                  <a:lnTo>
                    <a:pt x="295" y="76"/>
                  </a:lnTo>
                  <a:lnTo>
                    <a:pt x="298" y="74"/>
                  </a:lnTo>
                  <a:lnTo>
                    <a:pt x="298" y="71"/>
                  </a:lnTo>
                  <a:lnTo>
                    <a:pt x="301" y="68"/>
                  </a:lnTo>
                  <a:lnTo>
                    <a:pt x="304" y="65"/>
                  </a:lnTo>
                  <a:lnTo>
                    <a:pt x="307" y="68"/>
                  </a:lnTo>
                  <a:lnTo>
                    <a:pt x="310" y="68"/>
                  </a:lnTo>
                  <a:lnTo>
                    <a:pt x="316" y="68"/>
                  </a:lnTo>
                  <a:lnTo>
                    <a:pt x="319" y="74"/>
                  </a:lnTo>
                  <a:lnTo>
                    <a:pt x="322" y="71"/>
                  </a:lnTo>
                  <a:lnTo>
                    <a:pt x="328" y="65"/>
                  </a:lnTo>
                  <a:lnTo>
                    <a:pt x="328" y="62"/>
                  </a:lnTo>
                  <a:lnTo>
                    <a:pt x="322" y="59"/>
                  </a:lnTo>
                  <a:lnTo>
                    <a:pt x="328" y="56"/>
                  </a:lnTo>
                  <a:lnTo>
                    <a:pt x="331" y="59"/>
                  </a:lnTo>
                  <a:lnTo>
                    <a:pt x="334" y="56"/>
                  </a:lnTo>
                  <a:lnTo>
                    <a:pt x="340" y="56"/>
                  </a:lnTo>
                  <a:lnTo>
                    <a:pt x="343" y="53"/>
                  </a:lnTo>
                  <a:lnTo>
                    <a:pt x="346" y="47"/>
                  </a:lnTo>
                  <a:lnTo>
                    <a:pt x="346" y="44"/>
                  </a:lnTo>
                  <a:lnTo>
                    <a:pt x="349" y="38"/>
                  </a:lnTo>
                  <a:lnTo>
                    <a:pt x="349" y="35"/>
                  </a:lnTo>
                  <a:lnTo>
                    <a:pt x="349" y="32"/>
                  </a:lnTo>
                  <a:lnTo>
                    <a:pt x="346" y="29"/>
                  </a:lnTo>
                  <a:lnTo>
                    <a:pt x="349" y="23"/>
                  </a:lnTo>
                  <a:lnTo>
                    <a:pt x="355" y="23"/>
                  </a:lnTo>
                  <a:lnTo>
                    <a:pt x="357" y="26"/>
                  </a:lnTo>
                  <a:lnTo>
                    <a:pt x="360" y="26"/>
                  </a:lnTo>
                  <a:lnTo>
                    <a:pt x="366" y="26"/>
                  </a:lnTo>
                  <a:lnTo>
                    <a:pt x="366" y="20"/>
                  </a:lnTo>
                  <a:lnTo>
                    <a:pt x="372" y="20"/>
                  </a:lnTo>
                  <a:lnTo>
                    <a:pt x="375" y="17"/>
                  </a:lnTo>
                  <a:lnTo>
                    <a:pt x="378" y="17"/>
                  </a:lnTo>
                  <a:lnTo>
                    <a:pt x="378" y="12"/>
                  </a:lnTo>
                  <a:lnTo>
                    <a:pt x="381" y="9"/>
                  </a:lnTo>
                  <a:lnTo>
                    <a:pt x="384" y="3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399" y="6"/>
                  </a:lnTo>
                  <a:lnTo>
                    <a:pt x="396" y="9"/>
                  </a:lnTo>
                  <a:lnTo>
                    <a:pt x="402" y="14"/>
                  </a:lnTo>
                  <a:lnTo>
                    <a:pt x="405" y="12"/>
                  </a:lnTo>
                  <a:lnTo>
                    <a:pt x="408" y="12"/>
                  </a:lnTo>
                  <a:lnTo>
                    <a:pt x="408" y="14"/>
                  </a:lnTo>
                  <a:lnTo>
                    <a:pt x="408" y="20"/>
                  </a:lnTo>
                  <a:lnTo>
                    <a:pt x="414" y="17"/>
                  </a:lnTo>
                  <a:lnTo>
                    <a:pt x="416" y="12"/>
                  </a:lnTo>
                  <a:lnTo>
                    <a:pt x="419" y="14"/>
                  </a:lnTo>
                  <a:lnTo>
                    <a:pt x="422" y="12"/>
                  </a:lnTo>
                  <a:lnTo>
                    <a:pt x="428" y="14"/>
                  </a:lnTo>
                  <a:lnTo>
                    <a:pt x="428" y="17"/>
                  </a:lnTo>
                  <a:lnTo>
                    <a:pt x="425" y="20"/>
                  </a:lnTo>
                  <a:lnTo>
                    <a:pt x="425" y="26"/>
                  </a:lnTo>
                  <a:lnTo>
                    <a:pt x="428" y="29"/>
                  </a:lnTo>
                  <a:lnTo>
                    <a:pt x="428" y="35"/>
                  </a:lnTo>
                  <a:lnTo>
                    <a:pt x="425" y="38"/>
                  </a:lnTo>
                  <a:lnTo>
                    <a:pt x="428" y="41"/>
                  </a:lnTo>
                  <a:lnTo>
                    <a:pt x="431" y="47"/>
                  </a:lnTo>
                  <a:lnTo>
                    <a:pt x="431" y="53"/>
                  </a:lnTo>
                  <a:lnTo>
                    <a:pt x="431" y="56"/>
                  </a:lnTo>
                  <a:lnTo>
                    <a:pt x="425" y="59"/>
                  </a:lnTo>
                  <a:lnTo>
                    <a:pt x="422" y="62"/>
                  </a:lnTo>
                  <a:lnTo>
                    <a:pt x="416" y="65"/>
                  </a:lnTo>
                  <a:lnTo>
                    <a:pt x="416" y="68"/>
                  </a:lnTo>
                  <a:lnTo>
                    <a:pt x="416" y="71"/>
                  </a:lnTo>
                  <a:lnTo>
                    <a:pt x="419" y="71"/>
                  </a:lnTo>
                  <a:lnTo>
                    <a:pt x="419" y="74"/>
                  </a:lnTo>
                  <a:lnTo>
                    <a:pt x="411" y="79"/>
                  </a:lnTo>
                  <a:lnTo>
                    <a:pt x="408" y="82"/>
                  </a:lnTo>
                  <a:lnTo>
                    <a:pt x="405" y="85"/>
                  </a:lnTo>
                  <a:lnTo>
                    <a:pt x="405" y="88"/>
                  </a:lnTo>
                  <a:lnTo>
                    <a:pt x="408" y="88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22" y="91"/>
                  </a:lnTo>
                  <a:lnTo>
                    <a:pt x="425" y="91"/>
                  </a:lnTo>
                  <a:lnTo>
                    <a:pt x="428" y="94"/>
                  </a:lnTo>
                  <a:lnTo>
                    <a:pt x="431" y="94"/>
                  </a:lnTo>
                  <a:lnTo>
                    <a:pt x="434" y="91"/>
                  </a:lnTo>
                  <a:lnTo>
                    <a:pt x="437" y="97"/>
                  </a:lnTo>
                  <a:lnTo>
                    <a:pt x="437" y="100"/>
                  </a:lnTo>
                  <a:lnTo>
                    <a:pt x="434" y="103"/>
                  </a:lnTo>
                  <a:lnTo>
                    <a:pt x="431" y="103"/>
                  </a:lnTo>
                  <a:lnTo>
                    <a:pt x="425" y="103"/>
                  </a:lnTo>
                  <a:lnTo>
                    <a:pt x="422" y="106"/>
                  </a:lnTo>
                  <a:lnTo>
                    <a:pt x="419" y="109"/>
                  </a:lnTo>
                  <a:lnTo>
                    <a:pt x="416" y="115"/>
                  </a:lnTo>
                  <a:lnTo>
                    <a:pt x="411" y="118"/>
                  </a:lnTo>
                  <a:lnTo>
                    <a:pt x="408" y="121"/>
                  </a:lnTo>
                  <a:lnTo>
                    <a:pt x="405" y="124"/>
                  </a:lnTo>
                  <a:lnTo>
                    <a:pt x="402" y="130"/>
                  </a:lnTo>
                  <a:lnTo>
                    <a:pt x="399" y="133"/>
                  </a:lnTo>
                  <a:lnTo>
                    <a:pt x="399" y="135"/>
                  </a:lnTo>
                  <a:lnTo>
                    <a:pt x="402" y="135"/>
                  </a:lnTo>
                  <a:lnTo>
                    <a:pt x="408" y="138"/>
                  </a:lnTo>
                  <a:lnTo>
                    <a:pt x="408" y="141"/>
                  </a:lnTo>
                  <a:lnTo>
                    <a:pt x="414" y="147"/>
                  </a:lnTo>
                  <a:lnTo>
                    <a:pt x="411" y="150"/>
                  </a:lnTo>
                  <a:lnTo>
                    <a:pt x="408" y="156"/>
                  </a:lnTo>
                  <a:lnTo>
                    <a:pt x="408" y="162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5" y="180"/>
                  </a:lnTo>
                  <a:lnTo>
                    <a:pt x="405" y="183"/>
                  </a:lnTo>
                  <a:lnTo>
                    <a:pt x="408" y="186"/>
                  </a:lnTo>
                  <a:lnTo>
                    <a:pt x="405" y="189"/>
                  </a:lnTo>
                  <a:lnTo>
                    <a:pt x="402" y="192"/>
                  </a:lnTo>
                  <a:lnTo>
                    <a:pt x="405" y="192"/>
                  </a:lnTo>
                  <a:lnTo>
                    <a:pt x="408" y="194"/>
                  </a:lnTo>
                  <a:lnTo>
                    <a:pt x="408" y="197"/>
                  </a:lnTo>
                  <a:lnTo>
                    <a:pt x="402" y="200"/>
                  </a:lnTo>
                  <a:lnTo>
                    <a:pt x="399" y="203"/>
                  </a:lnTo>
                  <a:lnTo>
                    <a:pt x="393" y="206"/>
                  </a:lnTo>
                  <a:lnTo>
                    <a:pt x="387" y="209"/>
                  </a:lnTo>
                  <a:lnTo>
                    <a:pt x="387" y="212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6" y="221"/>
                  </a:lnTo>
                  <a:lnTo>
                    <a:pt x="399" y="221"/>
                  </a:lnTo>
                  <a:lnTo>
                    <a:pt x="402" y="221"/>
                  </a:lnTo>
                  <a:lnTo>
                    <a:pt x="405" y="221"/>
                  </a:lnTo>
                  <a:lnTo>
                    <a:pt x="408" y="221"/>
                  </a:lnTo>
                  <a:lnTo>
                    <a:pt x="411" y="221"/>
                  </a:lnTo>
                  <a:lnTo>
                    <a:pt x="414" y="221"/>
                  </a:lnTo>
                  <a:lnTo>
                    <a:pt x="414" y="224"/>
                  </a:lnTo>
                  <a:lnTo>
                    <a:pt x="416" y="224"/>
                  </a:lnTo>
                  <a:lnTo>
                    <a:pt x="419" y="224"/>
                  </a:lnTo>
                  <a:lnTo>
                    <a:pt x="422" y="227"/>
                  </a:lnTo>
                  <a:lnTo>
                    <a:pt x="419" y="230"/>
                  </a:lnTo>
                  <a:lnTo>
                    <a:pt x="414" y="233"/>
                  </a:lnTo>
                  <a:lnTo>
                    <a:pt x="414" y="239"/>
                  </a:lnTo>
                  <a:lnTo>
                    <a:pt x="411" y="245"/>
                  </a:lnTo>
                  <a:lnTo>
                    <a:pt x="411" y="251"/>
                  </a:lnTo>
                  <a:lnTo>
                    <a:pt x="411" y="256"/>
                  </a:lnTo>
                  <a:lnTo>
                    <a:pt x="411" y="262"/>
                  </a:lnTo>
                  <a:lnTo>
                    <a:pt x="408" y="262"/>
                  </a:lnTo>
                  <a:lnTo>
                    <a:pt x="405" y="265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399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0" y="268"/>
                  </a:lnTo>
                  <a:lnTo>
                    <a:pt x="387" y="265"/>
                  </a:lnTo>
                  <a:lnTo>
                    <a:pt x="384" y="265"/>
                  </a:lnTo>
                  <a:lnTo>
                    <a:pt x="381" y="265"/>
                  </a:lnTo>
                  <a:lnTo>
                    <a:pt x="378" y="265"/>
                  </a:lnTo>
                  <a:lnTo>
                    <a:pt x="375" y="265"/>
                  </a:lnTo>
                  <a:lnTo>
                    <a:pt x="372" y="265"/>
                  </a:lnTo>
                  <a:lnTo>
                    <a:pt x="369" y="265"/>
                  </a:lnTo>
                  <a:lnTo>
                    <a:pt x="369" y="268"/>
                  </a:lnTo>
                  <a:lnTo>
                    <a:pt x="366" y="268"/>
                  </a:lnTo>
                  <a:lnTo>
                    <a:pt x="363" y="268"/>
                  </a:lnTo>
                  <a:lnTo>
                    <a:pt x="360" y="268"/>
                  </a:lnTo>
                  <a:lnTo>
                    <a:pt x="360" y="271"/>
                  </a:lnTo>
                  <a:lnTo>
                    <a:pt x="357" y="271"/>
                  </a:lnTo>
                  <a:lnTo>
                    <a:pt x="355" y="274"/>
                  </a:lnTo>
                  <a:lnTo>
                    <a:pt x="355" y="277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9"/>
                  </a:lnTo>
                  <a:lnTo>
                    <a:pt x="360" y="292"/>
                  </a:lnTo>
                  <a:lnTo>
                    <a:pt x="360" y="298"/>
                  </a:lnTo>
                  <a:lnTo>
                    <a:pt x="357" y="301"/>
                  </a:lnTo>
                  <a:lnTo>
                    <a:pt x="355" y="298"/>
                  </a:lnTo>
                  <a:lnTo>
                    <a:pt x="352" y="298"/>
                  </a:lnTo>
                  <a:lnTo>
                    <a:pt x="352" y="301"/>
                  </a:lnTo>
                  <a:lnTo>
                    <a:pt x="349" y="301"/>
                  </a:lnTo>
                  <a:lnTo>
                    <a:pt x="349" y="313"/>
                  </a:lnTo>
                  <a:lnTo>
                    <a:pt x="349" y="315"/>
                  </a:lnTo>
                  <a:lnTo>
                    <a:pt x="349" y="318"/>
                  </a:lnTo>
                  <a:lnTo>
                    <a:pt x="349" y="321"/>
                  </a:lnTo>
                  <a:lnTo>
                    <a:pt x="352" y="321"/>
                  </a:lnTo>
                  <a:lnTo>
                    <a:pt x="352" y="324"/>
                  </a:lnTo>
                  <a:lnTo>
                    <a:pt x="352" y="327"/>
                  </a:lnTo>
                  <a:lnTo>
                    <a:pt x="355" y="327"/>
                  </a:lnTo>
                  <a:lnTo>
                    <a:pt x="352" y="330"/>
                  </a:lnTo>
                  <a:lnTo>
                    <a:pt x="355" y="330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60" y="336"/>
                  </a:lnTo>
                  <a:lnTo>
                    <a:pt x="363" y="339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3" y="348"/>
                  </a:lnTo>
                  <a:lnTo>
                    <a:pt x="363" y="351"/>
                  </a:lnTo>
                  <a:lnTo>
                    <a:pt x="363" y="357"/>
                  </a:lnTo>
                  <a:lnTo>
                    <a:pt x="357" y="363"/>
                  </a:lnTo>
                  <a:lnTo>
                    <a:pt x="355" y="366"/>
                  </a:lnTo>
                  <a:lnTo>
                    <a:pt x="349" y="366"/>
                  </a:lnTo>
                  <a:lnTo>
                    <a:pt x="346" y="363"/>
                  </a:lnTo>
                  <a:lnTo>
                    <a:pt x="340" y="366"/>
                  </a:lnTo>
                  <a:lnTo>
                    <a:pt x="337" y="363"/>
                  </a:lnTo>
                  <a:lnTo>
                    <a:pt x="331" y="363"/>
                  </a:lnTo>
                  <a:lnTo>
                    <a:pt x="328" y="360"/>
                  </a:lnTo>
                  <a:lnTo>
                    <a:pt x="322" y="357"/>
                  </a:lnTo>
                  <a:lnTo>
                    <a:pt x="319" y="360"/>
                  </a:lnTo>
                  <a:lnTo>
                    <a:pt x="319" y="363"/>
                  </a:lnTo>
                  <a:lnTo>
                    <a:pt x="319" y="366"/>
                  </a:lnTo>
                  <a:lnTo>
                    <a:pt x="319" y="369"/>
                  </a:lnTo>
                  <a:lnTo>
                    <a:pt x="316" y="369"/>
                  </a:lnTo>
                  <a:lnTo>
                    <a:pt x="322" y="369"/>
                  </a:lnTo>
                  <a:lnTo>
                    <a:pt x="325" y="372"/>
                  </a:lnTo>
                  <a:lnTo>
                    <a:pt x="328" y="372"/>
                  </a:lnTo>
                  <a:lnTo>
                    <a:pt x="328" y="377"/>
                  </a:lnTo>
                  <a:lnTo>
                    <a:pt x="328" y="380"/>
                  </a:lnTo>
                  <a:lnTo>
                    <a:pt x="325" y="383"/>
                  </a:lnTo>
                  <a:lnTo>
                    <a:pt x="322" y="389"/>
                  </a:lnTo>
                  <a:lnTo>
                    <a:pt x="319" y="392"/>
                  </a:lnTo>
                  <a:lnTo>
                    <a:pt x="319" y="398"/>
                  </a:lnTo>
                  <a:lnTo>
                    <a:pt x="316" y="401"/>
                  </a:lnTo>
                  <a:lnTo>
                    <a:pt x="316" y="407"/>
                  </a:lnTo>
                  <a:lnTo>
                    <a:pt x="316" y="413"/>
                  </a:lnTo>
                  <a:lnTo>
                    <a:pt x="319" y="416"/>
                  </a:lnTo>
                  <a:lnTo>
                    <a:pt x="322" y="419"/>
                  </a:lnTo>
                  <a:lnTo>
                    <a:pt x="325" y="419"/>
                  </a:lnTo>
                  <a:lnTo>
                    <a:pt x="325" y="422"/>
                  </a:lnTo>
                  <a:lnTo>
                    <a:pt x="328" y="425"/>
                  </a:lnTo>
                  <a:lnTo>
                    <a:pt x="334" y="422"/>
                  </a:lnTo>
                  <a:lnTo>
                    <a:pt x="337" y="422"/>
                  </a:lnTo>
                  <a:lnTo>
                    <a:pt x="337" y="425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1" y="431"/>
                  </a:lnTo>
                  <a:lnTo>
                    <a:pt x="328" y="434"/>
                  </a:lnTo>
                  <a:lnTo>
                    <a:pt x="328" y="436"/>
                  </a:lnTo>
                  <a:lnTo>
                    <a:pt x="331" y="439"/>
                  </a:lnTo>
                  <a:lnTo>
                    <a:pt x="334" y="442"/>
                  </a:lnTo>
                  <a:lnTo>
                    <a:pt x="334" y="445"/>
                  </a:lnTo>
                  <a:lnTo>
                    <a:pt x="334" y="448"/>
                  </a:lnTo>
                  <a:lnTo>
                    <a:pt x="337" y="451"/>
                  </a:lnTo>
                  <a:lnTo>
                    <a:pt x="340" y="448"/>
                  </a:lnTo>
                  <a:lnTo>
                    <a:pt x="346" y="451"/>
                  </a:lnTo>
                  <a:lnTo>
                    <a:pt x="349" y="451"/>
                  </a:lnTo>
                  <a:lnTo>
                    <a:pt x="352" y="451"/>
                  </a:lnTo>
                  <a:lnTo>
                    <a:pt x="352" y="448"/>
                  </a:lnTo>
                  <a:lnTo>
                    <a:pt x="355" y="445"/>
                  </a:lnTo>
                  <a:lnTo>
                    <a:pt x="355" y="442"/>
                  </a:lnTo>
                  <a:lnTo>
                    <a:pt x="357" y="439"/>
                  </a:lnTo>
                  <a:lnTo>
                    <a:pt x="360" y="439"/>
                  </a:lnTo>
                  <a:lnTo>
                    <a:pt x="366" y="442"/>
                  </a:lnTo>
                  <a:lnTo>
                    <a:pt x="369" y="442"/>
                  </a:lnTo>
                  <a:lnTo>
                    <a:pt x="375" y="442"/>
                  </a:lnTo>
                  <a:lnTo>
                    <a:pt x="378" y="445"/>
                  </a:lnTo>
                  <a:lnTo>
                    <a:pt x="378" y="448"/>
                  </a:lnTo>
                  <a:lnTo>
                    <a:pt x="384" y="448"/>
                  </a:lnTo>
                  <a:lnTo>
                    <a:pt x="384" y="451"/>
                  </a:lnTo>
                  <a:lnTo>
                    <a:pt x="387" y="451"/>
                  </a:lnTo>
                  <a:lnTo>
                    <a:pt x="390" y="454"/>
                  </a:lnTo>
                  <a:lnTo>
                    <a:pt x="390" y="451"/>
                  </a:lnTo>
                  <a:lnTo>
                    <a:pt x="387" y="448"/>
                  </a:lnTo>
                  <a:lnTo>
                    <a:pt x="387" y="445"/>
                  </a:lnTo>
                  <a:lnTo>
                    <a:pt x="387" y="442"/>
                  </a:lnTo>
                  <a:lnTo>
                    <a:pt x="390" y="442"/>
                  </a:lnTo>
                  <a:lnTo>
                    <a:pt x="393" y="442"/>
                  </a:lnTo>
                  <a:lnTo>
                    <a:pt x="396" y="445"/>
                  </a:lnTo>
                  <a:lnTo>
                    <a:pt x="399" y="448"/>
                  </a:lnTo>
                  <a:lnTo>
                    <a:pt x="402" y="448"/>
                  </a:lnTo>
                  <a:lnTo>
                    <a:pt x="402" y="451"/>
                  </a:lnTo>
                  <a:lnTo>
                    <a:pt x="399" y="454"/>
                  </a:lnTo>
                  <a:lnTo>
                    <a:pt x="402" y="457"/>
                  </a:lnTo>
                  <a:lnTo>
                    <a:pt x="399" y="460"/>
                  </a:lnTo>
                  <a:lnTo>
                    <a:pt x="396" y="460"/>
                  </a:lnTo>
                  <a:lnTo>
                    <a:pt x="390" y="460"/>
                  </a:lnTo>
                  <a:lnTo>
                    <a:pt x="387" y="460"/>
                  </a:lnTo>
                  <a:lnTo>
                    <a:pt x="384" y="463"/>
                  </a:lnTo>
                  <a:lnTo>
                    <a:pt x="384" y="466"/>
                  </a:lnTo>
                  <a:lnTo>
                    <a:pt x="387" y="466"/>
                  </a:lnTo>
                  <a:lnTo>
                    <a:pt x="387" y="469"/>
                  </a:lnTo>
                  <a:lnTo>
                    <a:pt x="384" y="472"/>
                  </a:lnTo>
                  <a:lnTo>
                    <a:pt x="384" y="475"/>
                  </a:lnTo>
                  <a:lnTo>
                    <a:pt x="387" y="478"/>
                  </a:lnTo>
                  <a:lnTo>
                    <a:pt x="390" y="481"/>
                  </a:lnTo>
                  <a:lnTo>
                    <a:pt x="390" y="484"/>
                  </a:lnTo>
                  <a:lnTo>
                    <a:pt x="390" y="487"/>
                  </a:lnTo>
                  <a:lnTo>
                    <a:pt x="390" y="490"/>
                  </a:lnTo>
                  <a:lnTo>
                    <a:pt x="387" y="490"/>
                  </a:lnTo>
                  <a:lnTo>
                    <a:pt x="384" y="490"/>
                  </a:lnTo>
                  <a:lnTo>
                    <a:pt x="381" y="490"/>
                  </a:lnTo>
                  <a:lnTo>
                    <a:pt x="381" y="487"/>
                  </a:lnTo>
                  <a:lnTo>
                    <a:pt x="381" y="484"/>
                  </a:lnTo>
                  <a:lnTo>
                    <a:pt x="378" y="481"/>
                  </a:lnTo>
                  <a:lnTo>
                    <a:pt x="378" y="478"/>
                  </a:lnTo>
                  <a:lnTo>
                    <a:pt x="372" y="475"/>
                  </a:lnTo>
                  <a:lnTo>
                    <a:pt x="366" y="475"/>
                  </a:lnTo>
                  <a:lnTo>
                    <a:pt x="357" y="475"/>
                  </a:lnTo>
                  <a:lnTo>
                    <a:pt x="355" y="475"/>
                  </a:lnTo>
                  <a:lnTo>
                    <a:pt x="352" y="472"/>
                  </a:lnTo>
                  <a:lnTo>
                    <a:pt x="352" y="469"/>
                  </a:lnTo>
                  <a:lnTo>
                    <a:pt x="346" y="469"/>
                  </a:lnTo>
                  <a:lnTo>
                    <a:pt x="343" y="469"/>
                  </a:lnTo>
                  <a:lnTo>
                    <a:pt x="343" y="466"/>
                  </a:lnTo>
                  <a:lnTo>
                    <a:pt x="343" y="463"/>
                  </a:lnTo>
                  <a:lnTo>
                    <a:pt x="343" y="460"/>
                  </a:lnTo>
                  <a:lnTo>
                    <a:pt x="343" y="457"/>
                  </a:lnTo>
                  <a:lnTo>
                    <a:pt x="340" y="457"/>
                  </a:lnTo>
                  <a:lnTo>
                    <a:pt x="337" y="457"/>
                  </a:lnTo>
                  <a:lnTo>
                    <a:pt x="334" y="454"/>
                  </a:lnTo>
                  <a:lnTo>
                    <a:pt x="331" y="457"/>
                  </a:lnTo>
                  <a:lnTo>
                    <a:pt x="328" y="460"/>
                  </a:lnTo>
                  <a:lnTo>
                    <a:pt x="328" y="463"/>
                  </a:lnTo>
                  <a:lnTo>
                    <a:pt x="334" y="466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7" y="469"/>
                  </a:lnTo>
                  <a:lnTo>
                    <a:pt x="337" y="475"/>
                  </a:lnTo>
                  <a:lnTo>
                    <a:pt x="337" y="478"/>
                  </a:lnTo>
                  <a:lnTo>
                    <a:pt x="340" y="481"/>
                  </a:lnTo>
                  <a:lnTo>
                    <a:pt x="346" y="484"/>
                  </a:lnTo>
                  <a:lnTo>
                    <a:pt x="346" y="487"/>
                  </a:lnTo>
                  <a:lnTo>
                    <a:pt x="340" y="493"/>
                  </a:lnTo>
                  <a:lnTo>
                    <a:pt x="337" y="495"/>
                  </a:lnTo>
                  <a:lnTo>
                    <a:pt x="337" y="498"/>
                  </a:lnTo>
                  <a:lnTo>
                    <a:pt x="340" y="501"/>
                  </a:lnTo>
                  <a:lnTo>
                    <a:pt x="343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52" y="501"/>
                  </a:lnTo>
                  <a:lnTo>
                    <a:pt x="357" y="504"/>
                  </a:lnTo>
                  <a:lnTo>
                    <a:pt x="360" y="501"/>
                  </a:lnTo>
                  <a:lnTo>
                    <a:pt x="357" y="495"/>
                  </a:lnTo>
                  <a:lnTo>
                    <a:pt x="357" y="493"/>
                  </a:lnTo>
                  <a:lnTo>
                    <a:pt x="360" y="490"/>
                  </a:lnTo>
                  <a:lnTo>
                    <a:pt x="360" y="487"/>
                  </a:lnTo>
                  <a:lnTo>
                    <a:pt x="363" y="490"/>
                  </a:lnTo>
                  <a:lnTo>
                    <a:pt x="366" y="490"/>
                  </a:lnTo>
                  <a:lnTo>
                    <a:pt x="369" y="490"/>
                  </a:lnTo>
                  <a:lnTo>
                    <a:pt x="372" y="493"/>
                  </a:lnTo>
                  <a:lnTo>
                    <a:pt x="375" y="493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7" y="495"/>
                  </a:lnTo>
                  <a:lnTo>
                    <a:pt x="390" y="495"/>
                  </a:lnTo>
                  <a:lnTo>
                    <a:pt x="390" y="498"/>
                  </a:lnTo>
                  <a:lnTo>
                    <a:pt x="393" y="498"/>
                  </a:lnTo>
                  <a:lnTo>
                    <a:pt x="393" y="501"/>
                  </a:lnTo>
                  <a:lnTo>
                    <a:pt x="393" y="507"/>
                  </a:lnTo>
                  <a:lnTo>
                    <a:pt x="390" y="507"/>
                  </a:lnTo>
                  <a:lnTo>
                    <a:pt x="393" y="510"/>
                  </a:lnTo>
                  <a:lnTo>
                    <a:pt x="396" y="513"/>
                  </a:lnTo>
                  <a:lnTo>
                    <a:pt x="399" y="510"/>
                  </a:lnTo>
                  <a:lnTo>
                    <a:pt x="402" y="510"/>
                  </a:lnTo>
                  <a:lnTo>
                    <a:pt x="405" y="510"/>
                  </a:lnTo>
                  <a:lnTo>
                    <a:pt x="408" y="507"/>
                  </a:lnTo>
                  <a:lnTo>
                    <a:pt x="414" y="504"/>
                  </a:lnTo>
                  <a:lnTo>
                    <a:pt x="416" y="501"/>
                  </a:lnTo>
                  <a:lnTo>
                    <a:pt x="419" y="504"/>
                  </a:lnTo>
                  <a:lnTo>
                    <a:pt x="422" y="504"/>
                  </a:lnTo>
                  <a:lnTo>
                    <a:pt x="425" y="501"/>
                  </a:lnTo>
                  <a:lnTo>
                    <a:pt x="428" y="498"/>
                  </a:lnTo>
                  <a:lnTo>
                    <a:pt x="434" y="495"/>
                  </a:lnTo>
                  <a:lnTo>
                    <a:pt x="437" y="493"/>
                  </a:lnTo>
                  <a:lnTo>
                    <a:pt x="437" y="487"/>
                  </a:lnTo>
                  <a:lnTo>
                    <a:pt x="440" y="487"/>
                  </a:lnTo>
                  <a:lnTo>
                    <a:pt x="443" y="487"/>
                  </a:lnTo>
                  <a:lnTo>
                    <a:pt x="446" y="490"/>
                  </a:lnTo>
                  <a:lnTo>
                    <a:pt x="449" y="493"/>
                  </a:lnTo>
                  <a:lnTo>
                    <a:pt x="452" y="490"/>
                  </a:lnTo>
                  <a:lnTo>
                    <a:pt x="455" y="484"/>
                  </a:lnTo>
                  <a:lnTo>
                    <a:pt x="458" y="487"/>
                  </a:lnTo>
                  <a:lnTo>
                    <a:pt x="458" y="490"/>
                  </a:lnTo>
                  <a:lnTo>
                    <a:pt x="455" y="493"/>
                  </a:lnTo>
                  <a:lnTo>
                    <a:pt x="452" y="495"/>
                  </a:lnTo>
                  <a:lnTo>
                    <a:pt x="452" y="498"/>
                  </a:lnTo>
                  <a:lnTo>
                    <a:pt x="458" y="498"/>
                  </a:lnTo>
                  <a:lnTo>
                    <a:pt x="458" y="495"/>
                  </a:lnTo>
                  <a:lnTo>
                    <a:pt x="464" y="495"/>
                  </a:lnTo>
                  <a:lnTo>
                    <a:pt x="470" y="495"/>
                  </a:lnTo>
                  <a:lnTo>
                    <a:pt x="473" y="498"/>
                  </a:lnTo>
                  <a:lnTo>
                    <a:pt x="476" y="501"/>
                  </a:lnTo>
                  <a:lnTo>
                    <a:pt x="476" y="504"/>
                  </a:lnTo>
                  <a:lnTo>
                    <a:pt x="473" y="504"/>
                  </a:lnTo>
                  <a:lnTo>
                    <a:pt x="473" y="507"/>
                  </a:lnTo>
                  <a:lnTo>
                    <a:pt x="470" y="510"/>
                  </a:lnTo>
                  <a:lnTo>
                    <a:pt x="473" y="513"/>
                  </a:lnTo>
                  <a:lnTo>
                    <a:pt x="470" y="516"/>
                  </a:lnTo>
                  <a:lnTo>
                    <a:pt x="470" y="513"/>
                  </a:lnTo>
                  <a:lnTo>
                    <a:pt x="470" y="516"/>
                  </a:lnTo>
                  <a:lnTo>
                    <a:pt x="473" y="519"/>
                  </a:lnTo>
                  <a:lnTo>
                    <a:pt x="476" y="519"/>
                  </a:lnTo>
                  <a:lnTo>
                    <a:pt x="481" y="519"/>
                  </a:lnTo>
                  <a:lnTo>
                    <a:pt x="481" y="522"/>
                  </a:lnTo>
                  <a:lnTo>
                    <a:pt x="484" y="522"/>
                  </a:lnTo>
                  <a:lnTo>
                    <a:pt x="484" y="525"/>
                  </a:lnTo>
                  <a:lnTo>
                    <a:pt x="490" y="525"/>
                  </a:lnTo>
                  <a:lnTo>
                    <a:pt x="499" y="525"/>
                  </a:lnTo>
                  <a:lnTo>
                    <a:pt x="505" y="528"/>
                  </a:lnTo>
                  <a:lnTo>
                    <a:pt x="505" y="534"/>
                  </a:lnTo>
                  <a:lnTo>
                    <a:pt x="505" y="537"/>
                  </a:lnTo>
                  <a:lnTo>
                    <a:pt x="502" y="546"/>
                  </a:lnTo>
                  <a:lnTo>
                    <a:pt x="505" y="552"/>
                  </a:lnTo>
                  <a:lnTo>
                    <a:pt x="508" y="555"/>
                  </a:lnTo>
                  <a:lnTo>
                    <a:pt x="511" y="555"/>
                  </a:lnTo>
                  <a:lnTo>
                    <a:pt x="514" y="555"/>
                  </a:lnTo>
                  <a:lnTo>
                    <a:pt x="517" y="557"/>
                  </a:lnTo>
                  <a:lnTo>
                    <a:pt x="517" y="560"/>
                  </a:lnTo>
                  <a:lnTo>
                    <a:pt x="520" y="560"/>
                  </a:lnTo>
                  <a:lnTo>
                    <a:pt x="523" y="560"/>
                  </a:lnTo>
                  <a:lnTo>
                    <a:pt x="526" y="557"/>
                  </a:lnTo>
                  <a:lnTo>
                    <a:pt x="526" y="560"/>
                  </a:lnTo>
                  <a:lnTo>
                    <a:pt x="526" y="566"/>
                  </a:lnTo>
                  <a:lnTo>
                    <a:pt x="526" y="572"/>
                  </a:lnTo>
                  <a:lnTo>
                    <a:pt x="523" y="575"/>
                  </a:lnTo>
                  <a:lnTo>
                    <a:pt x="520" y="578"/>
                  </a:lnTo>
                  <a:lnTo>
                    <a:pt x="520" y="581"/>
                  </a:lnTo>
                  <a:lnTo>
                    <a:pt x="517" y="584"/>
                  </a:lnTo>
                  <a:lnTo>
                    <a:pt x="514" y="587"/>
                  </a:lnTo>
                  <a:lnTo>
                    <a:pt x="511" y="596"/>
                  </a:lnTo>
                  <a:lnTo>
                    <a:pt x="508" y="596"/>
                  </a:lnTo>
                  <a:lnTo>
                    <a:pt x="511" y="599"/>
                  </a:lnTo>
                  <a:lnTo>
                    <a:pt x="514" y="599"/>
                  </a:lnTo>
                  <a:lnTo>
                    <a:pt x="514" y="602"/>
                  </a:lnTo>
                  <a:lnTo>
                    <a:pt x="508" y="605"/>
                  </a:lnTo>
                  <a:lnTo>
                    <a:pt x="508" y="602"/>
                  </a:lnTo>
                  <a:lnTo>
                    <a:pt x="505" y="602"/>
                  </a:lnTo>
                  <a:lnTo>
                    <a:pt x="496" y="599"/>
                  </a:lnTo>
                  <a:lnTo>
                    <a:pt x="496" y="602"/>
                  </a:lnTo>
                  <a:lnTo>
                    <a:pt x="496" y="605"/>
                  </a:lnTo>
                  <a:lnTo>
                    <a:pt x="493" y="605"/>
                  </a:lnTo>
                  <a:lnTo>
                    <a:pt x="487" y="605"/>
                  </a:lnTo>
                  <a:lnTo>
                    <a:pt x="487" y="608"/>
                  </a:lnTo>
                  <a:lnTo>
                    <a:pt x="481" y="614"/>
                  </a:lnTo>
                  <a:lnTo>
                    <a:pt x="476" y="614"/>
                  </a:lnTo>
                  <a:lnTo>
                    <a:pt x="473" y="611"/>
                  </a:lnTo>
                  <a:lnTo>
                    <a:pt x="467" y="608"/>
                  </a:lnTo>
                  <a:lnTo>
                    <a:pt x="464" y="605"/>
                  </a:lnTo>
                  <a:lnTo>
                    <a:pt x="461" y="602"/>
                  </a:lnTo>
                  <a:lnTo>
                    <a:pt x="458" y="605"/>
                  </a:lnTo>
                  <a:lnTo>
                    <a:pt x="455" y="608"/>
                  </a:lnTo>
                  <a:lnTo>
                    <a:pt x="452" y="608"/>
                  </a:lnTo>
                  <a:lnTo>
                    <a:pt x="449" y="605"/>
                  </a:lnTo>
                  <a:lnTo>
                    <a:pt x="446" y="602"/>
                  </a:lnTo>
                  <a:lnTo>
                    <a:pt x="437" y="602"/>
                  </a:lnTo>
                  <a:lnTo>
                    <a:pt x="434" y="605"/>
                  </a:lnTo>
                  <a:lnTo>
                    <a:pt x="431" y="605"/>
                  </a:lnTo>
                  <a:lnTo>
                    <a:pt x="431" y="611"/>
                  </a:lnTo>
                  <a:lnTo>
                    <a:pt x="428" y="616"/>
                  </a:lnTo>
                  <a:lnTo>
                    <a:pt x="428" y="619"/>
                  </a:lnTo>
                  <a:lnTo>
                    <a:pt x="425" y="622"/>
                  </a:lnTo>
                  <a:lnTo>
                    <a:pt x="422" y="622"/>
                  </a:lnTo>
                  <a:lnTo>
                    <a:pt x="411" y="619"/>
                  </a:lnTo>
                  <a:lnTo>
                    <a:pt x="408" y="622"/>
                  </a:lnTo>
                  <a:lnTo>
                    <a:pt x="405" y="628"/>
                  </a:lnTo>
                  <a:lnTo>
                    <a:pt x="405" y="634"/>
                  </a:lnTo>
                  <a:lnTo>
                    <a:pt x="408" y="640"/>
                  </a:lnTo>
                  <a:lnTo>
                    <a:pt x="411" y="640"/>
                  </a:lnTo>
                  <a:lnTo>
                    <a:pt x="411" y="646"/>
                  </a:lnTo>
                  <a:lnTo>
                    <a:pt x="408" y="652"/>
                  </a:lnTo>
                  <a:lnTo>
                    <a:pt x="405" y="658"/>
                  </a:lnTo>
                  <a:lnTo>
                    <a:pt x="393" y="664"/>
                  </a:lnTo>
                  <a:lnTo>
                    <a:pt x="390" y="667"/>
                  </a:lnTo>
                  <a:lnTo>
                    <a:pt x="393" y="667"/>
                  </a:lnTo>
                  <a:lnTo>
                    <a:pt x="393" y="670"/>
                  </a:lnTo>
                  <a:lnTo>
                    <a:pt x="393" y="673"/>
                  </a:lnTo>
                  <a:lnTo>
                    <a:pt x="396" y="673"/>
                  </a:lnTo>
                  <a:lnTo>
                    <a:pt x="399" y="673"/>
                  </a:lnTo>
                  <a:lnTo>
                    <a:pt x="402" y="673"/>
                  </a:lnTo>
                  <a:lnTo>
                    <a:pt x="405" y="673"/>
                  </a:lnTo>
                  <a:lnTo>
                    <a:pt x="408" y="673"/>
                  </a:lnTo>
                  <a:lnTo>
                    <a:pt x="411" y="673"/>
                  </a:lnTo>
                  <a:lnTo>
                    <a:pt x="414" y="673"/>
                  </a:lnTo>
                  <a:lnTo>
                    <a:pt x="416" y="673"/>
                  </a:lnTo>
                  <a:lnTo>
                    <a:pt x="419" y="675"/>
                  </a:lnTo>
                  <a:lnTo>
                    <a:pt x="422" y="675"/>
                  </a:lnTo>
                  <a:lnTo>
                    <a:pt x="425" y="678"/>
                  </a:lnTo>
                  <a:lnTo>
                    <a:pt x="425" y="681"/>
                  </a:lnTo>
                  <a:lnTo>
                    <a:pt x="428" y="681"/>
                  </a:lnTo>
                  <a:lnTo>
                    <a:pt x="425" y="684"/>
                  </a:lnTo>
                  <a:lnTo>
                    <a:pt x="422" y="687"/>
                  </a:lnTo>
                  <a:lnTo>
                    <a:pt x="419" y="687"/>
                  </a:lnTo>
                  <a:lnTo>
                    <a:pt x="419" y="690"/>
                  </a:lnTo>
                  <a:lnTo>
                    <a:pt x="416" y="693"/>
                  </a:lnTo>
                  <a:lnTo>
                    <a:pt x="414" y="699"/>
                  </a:lnTo>
                  <a:lnTo>
                    <a:pt x="408" y="699"/>
                  </a:lnTo>
                  <a:lnTo>
                    <a:pt x="402" y="699"/>
                  </a:lnTo>
                  <a:lnTo>
                    <a:pt x="396" y="699"/>
                  </a:lnTo>
                  <a:lnTo>
                    <a:pt x="396" y="702"/>
                  </a:lnTo>
                  <a:lnTo>
                    <a:pt x="393" y="705"/>
                  </a:lnTo>
                  <a:lnTo>
                    <a:pt x="390" y="708"/>
                  </a:lnTo>
                  <a:lnTo>
                    <a:pt x="387" y="717"/>
                  </a:lnTo>
                  <a:lnTo>
                    <a:pt x="384" y="717"/>
                  </a:lnTo>
                  <a:lnTo>
                    <a:pt x="381" y="717"/>
                  </a:lnTo>
                  <a:lnTo>
                    <a:pt x="375" y="714"/>
                  </a:lnTo>
                  <a:lnTo>
                    <a:pt x="369" y="711"/>
                  </a:lnTo>
                  <a:lnTo>
                    <a:pt x="366" y="711"/>
                  </a:lnTo>
                  <a:lnTo>
                    <a:pt x="357" y="714"/>
                  </a:lnTo>
                  <a:lnTo>
                    <a:pt x="352" y="714"/>
                  </a:lnTo>
                  <a:lnTo>
                    <a:pt x="349" y="717"/>
                  </a:lnTo>
                  <a:lnTo>
                    <a:pt x="346" y="720"/>
                  </a:lnTo>
                  <a:lnTo>
                    <a:pt x="340" y="711"/>
                  </a:lnTo>
                  <a:lnTo>
                    <a:pt x="334" y="711"/>
                  </a:lnTo>
                  <a:lnTo>
                    <a:pt x="325" y="711"/>
                  </a:lnTo>
                  <a:lnTo>
                    <a:pt x="319" y="714"/>
                  </a:lnTo>
                  <a:lnTo>
                    <a:pt x="316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2"/>
                  </a:lnTo>
                  <a:lnTo>
                    <a:pt x="301" y="729"/>
                  </a:lnTo>
                  <a:lnTo>
                    <a:pt x="295" y="729"/>
                  </a:lnTo>
                  <a:lnTo>
                    <a:pt x="290" y="729"/>
                  </a:lnTo>
                  <a:lnTo>
                    <a:pt x="284" y="729"/>
                  </a:lnTo>
                  <a:lnTo>
                    <a:pt x="278" y="726"/>
                  </a:lnTo>
                  <a:lnTo>
                    <a:pt x="278" y="723"/>
                  </a:lnTo>
                  <a:lnTo>
                    <a:pt x="278" y="720"/>
                  </a:lnTo>
                  <a:lnTo>
                    <a:pt x="275" y="717"/>
                  </a:lnTo>
                  <a:lnTo>
                    <a:pt x="269" y="720"/>
                  </a:lnTo>
                  <a:lnTo>
                    <a:pt x="263" y="720"/>
                  </a:lnTo>
                  <a:lnTo>
                    <a:pt x="263" y="723"/>
                  </a:lnTo>
                  <a:lnTo>
                    <a:pt x="260" y="723"/>
                  </a:lnTo>
                  <a:lnTo>
                    <a:pt x="257" y="720"/>
                  </a:lnTo>
                  <a:lnTo>
                    <a:pt x="257" y="717"/>
                  </a:lnTo>
                  <a:lnTo>
                    <a:pt x="254" y="714"/>
                  </a:lnTo>
                  <a:lnTo>
                    <a:pt x="248" y="714"/>
                  </a:lnTo>
                  <a:lnTo>
                    <a:pt x="245" y="711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2"/>
                  </a:lnTo>
                  <a:lnTo>
                    <a:pt x="231" y="699"/>
                  </a:lnTo>
                  <a:lnTo>
                    <a:pt x="228" y="699"/>
                  </a:lnTo>
                  <a:lnTo>
                    <a:pt x="225" y="699"/>
                  </a:lnTo>
                  <a:lnTo>
                    <a:pt x="222" y="699"/>
                  </a:lnTo>
                  <a:lnTo>
                    <a:pt x="222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19" y="687"/>
                  </a:lnTo>
                  <a:lnTo>
                    <a:pt x="213" y="690"/>
                  </a:lnTo>
                  <a:lnTo>
                    <a:pt x="207" y="690"/>
                  </a:lnTo>
                  <a:lnTo>
                    <a:pt x="204" y="690"/>
                  </a:lnTo>
                  <a:lnTo>
                    <a:pt x="201" y="690"/>
                  </a:lnTo>
                  <a:lnTo>
                    <a:pt x="195" y="690"/>
                  </a:lnTo>
                  <a:lnTo>
                    <a:pt x="192" y="687"/>
                  </a:lnTo>
                  <a:lnTo>
                    <a:pt x="186" y="681"/>
                  </a:lnTo>
                  <a:lnTo>
                    <a:pt x="186" y="675"/>
                  </a:lnTo>
                  <a:lnTo>
                    <a:pt x="183" y="675"/>
                  </a:lnTo>
                  <a:lnTo>
                    <a:pt x="180" y="675"/>
                  </a:lnTo>
                  <a:lnTo>
                    <a:pt x="177" y="673"/>
                  </a:lnTo>
                  <a:lnTo>
                    <a:pt x="174" y="673"/>
                  </a:lnTo>
                  <a:lnTo>
                    <a:pt x="169" y="670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5"/>
                  </a:lnTo>
                  <a:lnTo>
                    <a:pt x="151" y="652"/>
                  </a:lnTo>
                  <a:lnTo>
                    <a:pt x="145" y="652"/>
                  </a:lnTo>
                  <a:lnTo>
                    <a:pt x="142" y="649"/>
                  </a:lnTo>
                  <a:lnTo>
                    <a:pt x="142" y="643"/>
                  </a:lnTo>
                  <a:lnTo>
                    <a:pt x="139" y="640"/>
                  </a:lnTo>
                  <a:lnTo>
                    <a:pt x="136" y="637"/>
                  </a:lnTo>
                  <a:lnTo>
                    <a:pt x="136" y="634"/>
                  </a:lnTo>
                  <a:lnTo>
                    <a:pt x="142" y="634"/>
                  </a:lnTo>
                  <a:lnTo>
                    <a:pt x="142" y="631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6" y="631"/>
                  </a:lnTo>
                  <a:lnTo>
                    <a:pt x="133" y="628"/>
                  </a:lnTo>
                  <a:lnTo>
                    <a:pt x="127" y="625"/>
                  </a:lnTo>
                  <a:lnTo>
                    <a:pt x="127" y="619"/>
                  </a:lnTo>
                  <a:lnTo>
                    <a:pt x="130" y="616"/>
                  </a:lnTo>
                  <a:lnTo>
                    <a:pt x="127" y="614"/>
                  </a:lnTo>
                  <a:lnTo>
                    <a:pt x="124" y="616"/>
                  </a:lnTo>
                  <a:lnTo>
                    <a:pt x="121" y="616"/>
                  </a:lnTo>
                  <a:lnTo>
                    <a:pt x="118" y="614"/>
                  </a:lnTo>
                  <a:lnTo>
                    <a:pt x="115" y="611"/>
                  </a:lnTo>
                  <a:lnTo>
                    <a:pt x="113" y="614"/>
                  </a:lnTo>
                  <a:lnTo>
                    <a:pt x="110" y="611"/>
                  </a:lnTo>
                  <a:lnTo>
                    <a:pt x="113" y="608"/>
                  </a:lnTo>
                  <a:lnTo>
                    <a:pt x="107" y="605"/>
                  </a:lnTo>
                  <a:lnTo>
                    <a:pt x="104" y="608"/>
                  </a:lnTo>
                  <a:lnTo>
                    <a:pt x="101" y="608"/>
                  </a:lnTo>
                  <a:lnTo>
                    <a:pt x="101" y="605"/>
                  </a:lnTo>
                  <a:lnTo>
                    <a:pt x="98" y="602"/>
                  </a:lnTo>
                  <a:lnTo>
                    <a:pt x="95" y="602"/>
                  </a:lnTo>
                  <a:lnTo>
                    <a:pt x="92" y="599"/>
                  </a:lnTo>
                  <a:lnTo>
                    <a:pt x="92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0" y="59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9" name="Freeform 130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293129" y="1618137"/>
              <a:ext cx="151678" cy="140915"/>
            </a:xfrm>
            <a:custGeom>
              <a:avLst/>
              <a:gdLst>
                <a:gd name="T0" fmla="*/ 201 w 918"/>
                <a:gd name="T1" fmla="*/ 747 h 794"/>
                <a:gd name="T2" fmla="*/ 189 w 918"/>
                <a:gd name="T3" fmla="*/ 700 h 794"/>
                <a:gd name="T4" fmla="*/ 157 w 918"/>
                <a:gd name="T5" fmla="*/ 667 h 794"/>
                <a:gd name="T6" fmla="*/ 127 w 918"/>
                <a:gd name="T7" fmla="*/ 650 h 794"/>
                <a:gd name="T8" fmla="*/ 74 w 918"/>
                <a:gd name="T9" fmla="*/ 670 h 794"/>
                <a:gd name="T10" fmla="*/ 41 w 918"/>
                <a:gd name="T11" fmla="*/ 658 h 794"/>
                <a:gd name="T12" fmla="*/ 21 w 918"/>
                <a:gd name="T13" fmla="*/ 629 h 794"/>
                <a:gd name="T14" fmla="*/ 39 w 918"/>
                <a:gd name="T15" fmla="*/ 638 h 794"/>
                <a:gd name="T16" fmla="*/ 68 w 918"/>
                <a:gd name="T17" fmla="*/ 635 h 794"/>
                <a:gd name="T18" fmla="*/ 71 w 918"/>
                <a:gd name="T19" fmla="*/ 605 h 794"/>
                <a:gd name="T20" fmla="*/ 36 w 918"/>
                <a:gd name="T21" fmla="*/ 611 h 794"/>
                <a:gd name="T22" fmla="*/ 18 w 918"/>
                <a:gd name="T23" fmla="*/ 585 h 794"/>
                <a:gd name="T24" fmla="*/ 6 w 918"/>
                <a:gd name="T25" fmla="*/ 532 h 794"/>
                <a:gd name="T26" fmla="*/ 47 w 918"/>
                <a:gd name="T27" fmla="*/ 511 h 794"/>
                <a:gd name="T28" fmla="*/ 33 w 918"/>
                <a:gd name="T29" fmla="*/ 464 h 794"/>
                <a:gd name="T30" fmla="*/ 53 w 918"/>
                <a:gd name="T31" fmla="*/ 431 h 794"/>
                <a:gd name="T32" fmla="*/ 95 w 918"/>
                <a:gd name="T33" fmla="*/ 419 h 794"/>
                <a:gd name="T34" fmla="*/ 74 w 918"/>
                <a:gd name="T35" fmla="*/ 381 h 794"/>
                <a:gd name="T36" fmla="*/ 92 w 918"/>
                <a:gd name="T37" fmla="*/ 334 h 794"/>
                <a:gd name="T38" fmla="*/ 109 w 918"/>
                <a:gd name="T39" fmla="*/ 266 h 794"/>
                <a:gd name="T40" fmla="*/ 103 w 918"/>
                <a:gd name="T41" fmla="*/ 237 h 794"/>
                <a:gd name="T42" fmla="*/ 112 w 918"/>
                <a:gd name="T43" fmla="*/ 177 h 794"/>
                <a:gd name="T44" fmla="*/ 130 w 918"/>
                <a:gd name="T45" fmla="*/ 139 h 794"/>
                <a:gd name="T46" fmla="*/ 157 w 918"/>
                <a:gd name="T47" fmla="*/ 116 h 794"/>
                <a:gd name="T48" fmla="*/ 151 w 918"/>
                <a:gd name="T49" fmla="*/ 68 h 794"/>
                <a:gd name="T50" fmla="*/ 183 w 918"/>
                <a:gd name="T51" fmla="*/ 54 h 794"/>
                <a:gd name="T52" fmla="*/ 198 w 918"/>
                <a:gd name="T53" fmla="*/ 6 h 794"/>
                <a:gd name="T54" fmla="*/ 233 w 918"/>
                <a:gd name="T55" fmla="*/ 12 h 794"/>
                <a:gd name="T56" fmla="*/ 266 w 918"/>
                <a:gd name="T57" fmla="*/ 36 h 794"/>
                <a:gd name="T58" fmla="*/ 307 w 918"/>
                <a:gd name="T59" fmla="*/ 42 h 794"/>
                <a:gd name="T60" fmla="*/ 345 w 918"/>
                <a:gd name="T61" fmla="*/ 39 h 794"/>
                <a:gd name="T62" fmla="*/ 381 w 918"/>
                <a:gd name="T63" fmla="*/ 56 h 794"/>
                <a:gd name="T64" fmla="*/ 372 w 918"/>
                <a:gd name="T65" fmla="*/ 98 h 794"/>
                <a:gd name="T66" fmla="*/ 387 w 918"/>
                <a:gd name="T67" fmla="*/ 127 h 794"/>
                <a:gd name="T68" fmla="*/ 422 w 918"/>
                <a:gd name="T69" fmla="*/ 142 h 794"/>
                <a:gd name="T70" fmla="*/ 472 w 918"/>
                <a:gd name="T71" fmla="*/ 180 h 794"/>
                <a:gd name="T72" fmla="*/ 499 w 918"/>
                <a:gd name="T73" fmla="*/ 207 h 794"/>
                <a:gd name="T74" fmla="*/ 570 w 918"/>
                <a:gd name="T75" fmla="*/ 234 h 794"/>
                <a:gd name="T76" fmla="*/ 649 w 918"/>
                <a:gd name="T77" fmla="*/ 204 h 794"/>
                <a:gd name="T78" fmla="*/ 673 w 918"/>
                <a:gd name="T79" fmla="*/ 166 h 794"/>
                <a:gd name="T80" fmla="*/ 732 w 918"/>
                <a:gd name="T81" fmla="*/ 166 h 794"/>
                <a:gd name="T82" fmla="*/ 753 w 918"/>
                <a:gd name="T83" fmla="*/ 121 h 794"/>
                <a:gd name="T84" fmla="*/ 791 w 918"/>
                <a:gd name="T85" fmla="*/ 92 h 794"/>
                <a:gd name="T86" fmla="*/ 859 w 918"/>
                <a:gd name="T87" fmla="*/ 118 h 794"/>
                <a:gd name="T88" fmla="*/ 909 w 918"/>
                <a:gd name="T89" fmla="*/ 80 h 794"/>
                <a:gd name="T90" fmla="*/ 859 w 918"/>
                <a:gd name="T91" fmla="*/ 160 h 794"/>
                <a:gd name="T92" fmla="*/ 770 w 918"/>
                <a:gd name="T93" fmla="*/ 234 h 794"/>
                <a:gd name="T94" fmla="*/ 646 w 918"/>
                <a:gd name="T95" fmla="*/ 337 h 794"/>
                <a:gd name="T96" fmla="*/ 652 w 918"/>
                <a:gd name="T97" fmla="*/ 357 h 794"/>
                <a:gd name="T98" fmla="*/ 614 w 918"/>
                <a:gd name="T99" fmla="*/ 387 h 794"/>
                <a:gd name="T100" fmla="*/ 549 w 918"/>
                <a:gd name="T101" fmla="*/ 393 h 794"/>
                <a:gd name="T102" fmla="*/ 502 w 918"/>
                <a:gd name="T103" fmla="*/ 449 h 794"/>
                <a:gd name="T104" fmla="*/ 475 w 918"/>
                <a:gd name="T105" fmla="*/ 446 h 794"/>
                <a:gd name="T106" fmla="*/ 413 w 918"/>
                <a:gd name="T107" fmla="*/ 467 h 794"/>
                <a:gd name="T108" fmla="*/ 399 w 918"/>
                <a:gd name="T109" fmla="*/ 564 h 794"/>
                <a:gd name="T110" fmla="*/ 396 w 918"/>
                <a:gd name="T111" fmla="*/ 629 h 794"/>
                <a:gd name="T112" fmla="*/ 401 w 918"/>
                <a:gd name="T113" fmla="*/ 679 h 794"/>
                <a:gd name="T114" fmla="*/ 378 w 918"/>
                <a:gd name="T115" fmla="*/ 709 h 794"/>
                <a:gd name="T116" fmla="*/ 334 w 918"/>
                <a:gd name="T117" fmla="*/ 726 h 794"/>
                <a:gd name="T118" fmla="*/ 295 w 918"/>
                <a:gd name="T119" fmla="*/ 741 h 794"/>
                <a:gd name="T120" fmla="*/ 233 w 918"/>
                <a:gd name="T121" fmla="*/ 747 h 794"/>
                <a:gd name="T122" fmla="*/ 171 w 918"/>
                <a:gd name="T123" fmla="*/ 782 h 7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18"/>
                <a:gd name="T187" fmla="*/ 0 h 794"/>
                <a:gd name="T188" fmla="*/ 918 w 918"/>
                <a:gd name="T189" fmla="*/ 794 h 7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18" h="794">
                  <a:moveTo>
                    <a:pt x="165" y="777"/>
                  </a:moveTo>
                  <a:lnTo>
                    <a:pt x="171" y="771"/>
                  </a:lnTo>
                  <a:lnTo>
                    <a:pt x="171" y="768"/>
                  </a:lnTo>
                  <a:lnTo>
                    <a:pt x="177" y="768"/>
                  </a:lnTo>
                  <a:lnTo>
                    <a:pt x="180" y="768"/>
                  </a:lnTo>
                  <a:lnTo>
                    <a:pt x="180" y="765"/>
                  </a:lnTo>
                  <a:lnTo>
                    <a:pt x="180" y="762"/>
                  </a:lnTo>
                  <a:lnTo>
                    <a:pt x="189" y="765"/>
                  </a:lnTo>
                  <a:lnTo>
                    <a:pt x="192" y="765"/>
                  </a:lnTo>
                  <a:lnTo>
                    <a:pt x="192" y="768"/>
                  </a:lnTo>
                  <a:lnTo>
                    <a:pt x="198" y="765"/>
                  </a:lnTo>
                  <a:lnTo>
                    <a:pt x="198" y="762"/>
                  </a:lnTo>
                  <a:lnTo>
                    <a:pt x="195" y="762"/>
                  </a:lnTo>
                  <a:lnTo>
                    <a:pt x="192" y="759"/>
                  </a:lnTo>
                  <a:lnTo>
                    <a:pt x="195" y="759"/>
                  </a:lnTo>
                  <a:lnTo>
                    <a:pt x="198" y="750"/>
                  </a:lnTo>
                  <a:lnTo>
                    <a:pt x="201" y="747"/>
                  </a:lnTo>
                  <a:lnTo>
                    <a:pt x="204" y="744"/>
                  </a:lnTo>
                  <a:lnTo>
                    <a:pt x="204" y="741"/>
                  </a:lnTo>
                  <a:lnTo>
                    <a:pt x="207" y="738"/>
                  </a:lnTo>
                  <a:lnTo>
                    <a:pt x="210" y="735"/>
                  </a:lnTo>
                  <a:lnTo>
                    <a:pt x="210" y="729"/>
                  </a:lnTo>
                  <a:lnTo>
                    <a:pt x="210" y="723"/>
                  </a:lnTo>
                  <a:lnTo>
                    <a:pt x="210" y="720"/>
                  </a:lnTo>
                  <a:lnTo>
                    <a:pt x="207" y="723"/>
                  </a:lnTo>
                  <a:lnTo>
                    <a:pt x="204" y="723"/>
                  </a:lnTo>
                  <a:lnTo>
                    <a:pt x="201" y="723"/>
                  </a:lnTo>
                  <a:lnTo>
                    <a:pt x="201" y="720"/>
                  </a:lnTo>
                  <a:lnTo>
                    <a:pt x="198" y="718"/>
                  </a:lnTo>
                  <a:lnTo>
                    <a:pt x="195" y="718"/>
                  </a:lnTo>
                  <a:lnTo>
                    <a:pt x="192" y="718"/>
                  </a:lnTo>
                  <a:lnTo>
                    <a:pt x="189" y="715"/>
                  </a:lnTo>
                  <a:lnTo>
                    <a:pt x="186" y="709"/>
                  </a:lnTo>
                  <a:lnTo>
                    <a:pt x="189" y="700"/>
                  </a:lnTo>
                  <a:lnTo>
                    <a:pt x="189" y="697"/>
                  </a:lnTo>
                  <a:lnTo>
                    <a:pt x="189" y="691"/>
                  </a:lnTo>
                  <a:lnTo>
                    <a:pt x="183" y="688"/>
                  </a:lnTo>
                  <a:lnTo>
                    <a:pt x="174" y="688"/>
                  </a:lnTo>
                  <a:lnTo>
                    <a:pt x="168" y="688"/>
                  </a:lnTo>
                  <a:lnTo>
                    <a:pt x="168" y="685"/>
                  </a:lnTo>
                  <a:lnTo>
                    <a:pt x="165" y="685"/>
                  </a:lnTo>
                  <a:lnTo>
                    <a:pt x="165" y="682"/>
                  </a:lnTo>
                  <a:lnTo>
                    <a:pt x="160" y="682"/>
                  </a:lnTo>
                  <a:lnTo>
                    <a:pt x="157" y="682"/>
                  </a:lnTo>
                  <a:lnTo>
                    <a:pt x="154" y="679"/>
                  </a:lnTo>
                  <a:lnTo>
                    <a:pt x="154" y="676"/>
                  </a:lnTo>
                  <a:lnTo>
                    <a:pt x="154" y="679"/>
                  </a:lnTo>
                  <a:lnTo>
                    <a:pt x="157" y="676"/>
                  </a:lnTo>
                  <a:lnTo>
                    <a:pt x="154" y="673"/>
                  </a:lnTo>
                  <a:lnTo>
                    <a:pt x="157" y="670"/>
                  </a:lnTo>
                  <a:lnTo>
                    <a:pt x="157" y="667"/>
                  </a:lnTo>
                  <a:lnTo>
                    <a:pt x="160" y="667"/>
                  </a:lnTo>
                  <a:lnTo>
                    <a:pt x="160" y="664"/>
                  </a:lnTo>
                  <a:lnTo>
                    <a:pt x="157" y="661"/>
                  </a:lnTo>
                  <a:lnTo>
                    <a:pt x="154" y="658"/>
                  </a:lnTo>
                  <a:lnTo>
                    <a:pt x="148" y="658"/>
                  </a:lnTo>
                  <a:lnTo>
                    <a:pt x="142" y="658"/>
                  </a:lnTo>
                  <a:lnTo>
                    <a:pt x="142" y="661"/>
                  </a:lnTo>
                  <a:lnTo>
                    <a:pt x="136" y="661"/>
                  </a:lnTo>
                  <a:lnTo>
                    <a:pt x="136" y="658"/>
                  </a:lnTo>
                  <a:lnTo>
                    <a:pt x="139" y="656"/>
                  </a:lnTo>
                  <a:lnTo>
                    <a:pt x="142" y="653"/>
                  </a:lnTo>
                  <a:lnTo>
                    <a:pt x="142" y="650"/>
                  </a:lnTo>
                  <a:lnTo>
                    <a:pt x="139" y="647"/>
                  </a:lnTo>
                  <a:lnTo>
                    <a:pt x="136" y="653"/>
                  </a:lnTo>
                  <a:lnTo>
                    <a:pt x="133" y="656"/>
                  </a:lnTo>
                  <a:lnTo>
                    <a:pt x="130" y="653"/>
                  </a:lnTo>
                  <a:lnTo>
                    <a:pt x="127" y="650"/>
                  </a:lnTo>
                  <a:lnTo>
                    <a:pt x="124" y="650"/>
                  </a:lnTo>
                  <a:lnTo>
                    <a:pt x="121" y="650"/>
                  </a:lnTo>
                  <a:lnTo>
                    <a:pt x="121" y="656"/>
                  </a:lnTo>
                  <a:lnTo>
                    <a:pt x="118" y="658"/>
                  </a:lnTo>
                  <a:lnTo>
                    <a:pt x="112" y="661"/>
                  </a:lnTo>
                  <a:lnTo>
                    <a:pt x="109" y="664"/>
                  </a:lnTo>
                  <a:lnTo>
                    <a:pt x="106" y="667"/>
                  </a:lnTo>
                  <a:lnTo>
                    <a:pt x="103" y="667"/>
                  </a:lnTo>
                  <a:lnTo>
                    <a:pt x="100" y="664"/>
                  </a:lnTo>
                  <a:lnTo>
                    <a:pt x="98" y="667"/>
                  </a:lnTo>
                  <a:lnTo>
                    <a:pt x="92" y="670"/>
                  </a:lnTo>
                  <a:lnTo>
                    <a:pt x="89" y="673"/>
                  </a:lnTo>
                  <a:lnTo>
                    <a:pt x="86" y="673"/>
                  </a:lnTo>
                  <a:lnTo>
                    <a:pt x="83" y="673"/>
                  </a:lnTo>
                  <a:lnTo>
                    <a:pt x="80" y="676"/>
                  </a:lnTo>
                  <a:lnTo>
                    <a:pt x="77" y="673"/>
                  </a:lnTo>
                  <a:lnTo>
                    <a:pt x="74" y="670"/>
                  </a:lnTo>
                  <a:lnTo>
                    <a:pt x="77" y="670"/>
                  </a:lnTo>
                  <a:lnTo>
                    <a:pt x="77" y="664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58"/>
                  </a:lnTo>
                  <a:lnTo>
                    <a:pt x="71" y="658"/>
                  </a:lnTo>
                  <a:lnTo>
                    <a:pt x="68" y="656"/>
                  </a:lnTo>
                  <a:lnTo>
                    <a:pt x="65" y="656"/>
                  </a:lnTo>
                  <a:lnTo>
                    <a:pt x="59" y="656"/>
                  </a:lnTo>
                  <a:lnTo>
                    <a:pt x="56" y="656"/>
                  </a:lnTo>
                  <a:lnTo>
                    <a:pt x="53" y="653"/>
                  </a:lnTo>
                  <a:lnTo>
                    <a:pt x="50" y="653"/>
                  </a:lnTo>
                  <a:lnTo>
                    <a:pt x="47" y="653"/>
                  </a:lnTo>
                  <a:lnTo>
                    <a:pt x="44" y="650"/>
                  </a:lnTo>
                  <a:lnTo>
                    <a:pt x="44" y="653"/>
                  </a:lnTo>
                  <a:lnTo>
                    <a:pt x="41" y="656"/>
                  </a:lnTo>
                  <a:lnTo>
                    <a:pt x="41" y="658"/>
                  </a:lnTo>
                  <a:lnTo>
                    <a:pt x="44" y="664"/>
                  </a:lnTo>
                  <a:lnTo>
                    <a:pt x="41" y="667"/>
                  </a:lnTo>
                  <a:lnTo>
                    <a:pt x="36" y="664"/>
                  </a:lnTo>
                  <a:lnTo>
                    <a:pt x="33" y="664"/>
                  </a:lnTo>
                  <a:lnTo>
                    <a:pt x="30" y="664"/>
                  </a:lnTo>
                  <a:lnTo>
                    <a:pt x="27" y="661"/>
                  </a:lnTo>
                  <a:lnTo>
                    <a:pt x="24" y="664"/>
                  </a:lnTo>
                  <a:lnTo>
                    <a:pt x="21" y="661"/>
                  </a:lnTo>
                  <a:lnTo>
                    <a:pt x="21" y="658"/>
                  </a:lnTo>
                  <a:lnTo>
                    <a:pt x="24" y="656"/>
                  </a:lnTo>
                  <a:lnTo>
                    <a:pt x="30" y="650"/>
                  </a:lnTo>
                  <a:lnTo>
                    <a:pt x="30" y="647"/>
                  </a:lnTo>
                  <a:lnTo>
                    <a:pt x="24" y="644"/>
                  </a:lnTo>
                  <a:lnTo>
                    <a:pt x="21" y="641"/>
                  </a:lnTo>
                  <a:lnTo>
                    <a:pt x="21" y="638"/>
                  </a:lnTo>
                  <a:lnTo>
                    <a:pt x="21" y="632"/>
                  </a:lnTo>
                  <a:lnTo>
                    <a:pt x="21" y="629"/>
                  </a:lnTo>
                  <a:lnTo>
                    <a:pt x="21" y="626"/>
                  </a:lnTo>
                  <a:lnTo>
                    <a:pt x="18" y="629"/>
                  </a:lnTo>
                  <a:lnTo>
                    <a:pt x="12" y="626"/>
                  </a:lnTo>
                  <a:lnTo>
                    <a:pt x="12" y="623"/>
                  </a:lnTo>
                  <a:lnTo>
                    <a:pt x="15" y="620"/>
                  </a:lnTo>
                  <a:lnTo>
                    <a:pt x="18" y="617"/>
                  </a:lnTo>
                  <a:lnTo>
                    <a:pt x="21" y="620"/>
                  </a:lnTo>
                  <a:lnTo>
                    <a:pt x="24" y="620"/>
                  </a:lnTo>
                  <a:lnTo>
                    <a:pt x="27" y="620"/>
                  </a:lnTo>
                  <a:lnTo>
                    <a:pt x="27" y="623"/>
                  </a:lnTo>
                  <a:lnTo>
                    <a:pt x="27" y="626"/>
                  </a:lnTo>
                  <a:lnTo>
                    <a:pt x="27" y="629"/>
                  </a:lnTo>
                  <a:lnTo>
                    <a:pt x="27" y="632"/>
                  </a:lnTo>
                  <a:lnTo>
                    <a:pt x="30" y="632"/>
                  </a:lnTo>
                  <a:lnTo>
                    <a:pt x="36" y="632"/>
                  </a:lnTo>
                  <a:lnTo>
                    <a:pt x="36" y="635"/>
                  </a:lnTo>
                  <a:lnTo>
                    <a:pt x="39" y="638"/>
                  </a:lnTo>
                  <a:lnTo>
                    <a:pt x="41" y="638"/>
                  </a:lnTo>
                  <a:lnTo>
                    <a:pt x="50" y="638"/>
                  </a:lnTo>
                  <a:lnTo>
                    <a:pt x="56" y="638"/>
                  </a:lnTo>
                  <a:lnTo>
                    <a:pt x="62" y="641"/>
                  </a:lnTo>
                  <a:lnTo>
                    <a:pt x="62" y="644"/>
                  </a:lnTo>
                  <a:lnTo>
                    <a:pt x="65" y="647"/>
                  </a:lnTo>
                  <a:lnTo>
                    <a:pt x="65" y="650"/>
                  </a:lnTo>
                  <a:lnTo>
                    <a:pt x="65" y="653"/>
                  </a:lnTo>
                  <a:lnTo>
                    <a:pt x="68" y="653"/>
                  </a:lnTo>
                  <a:lnTo>
                    <a:pt x="71" y="653"/>
                  </a:lnTo>
                  <a:lnTo>
                    <a:pt x="74" y="653"/>
                  </a:lnTo>
                  <a:lnTo>
                    <a:pt x="74" y="650"/>
                  </a:lnTo>
                  <a:lnTo>
                    <a:pt x="74" y="647"/>
                  </a:lnTo>
                  <a:lnTo>
                    <a:pt x="74" y="644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8" y="635"/>
                  </a:lnTo>
                  <a:lnTo>
                    <a:pt x="71" y="632"/>
                  </a:lnTo>
                  <a:lnTo>
                    <a:pt x="71" y="629"/>
                  </a:lnTo>
                  <a:lnTo>
                    <a:pt x="68" y="629"/>
                  </a:lnTo>
                  <a:lnTo>
                    <a:pt x="68" y="626"/>
                  </a:lnTo>
                  <a:lnTo>
                    <a:pt x="71" y="623"/>
                  </a:lnTo>
                  <a:lnTo>
                    <a:pt x="74" y="623"/>
                  </a:lnTo>
                  <a:lnTo>
                    <a:pt x="80" y="623"/>
                  </a:lnTo>
                  <a:lnTo>
                    <a:pt x="83" y="623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6" y="614"/>
                  </a:lnTo>
                  <a:lnTo>
                    <a:pt x="86" y="611"/>
                  </a:lnTo>
                  <a:lnTo>
                    <a:pt x="83" y="611"/>
                  </a:lnTo>
                  <a:lnTo>
                    <a:pt x="80" y="608"/>
                  </a:lnTo>
                  <a:lnTo>
                    <a:pt x="77" y="605"/>
                  </a:lnTo>
                  <a:lnTo>
                    <a:pt x="74" y="605"/>
                  </a:lnTo>
                  <a:lnTo>
                    <a:pt x="71" y="605"/>
                  </a:lnTo>
                  <a:lnTo>
                    <a:pt x="71" y="608"/>
                  </a:lnTo>
                  <a:lnTo>
                    <a:pt x="71" y="611"/>
                  </a:lnTo>
                  <a:lnTo>
                    <a:pt x="74" y="614"/>
                  </a:lnTo>
                  <a:lnTo>
                    <a:pt x="74" y="617"/>
                  </a:lnTo>
                  <a:lnTo>
                    <a:pt x="71" y="614"/>
                  </a:lnTo>
                  <a:lnTo>
                    <a:pt x="68" y="614"/>
                  </a:lnTo>
                  <a:lnTo>
                    <a:pt x="68" y="611"/>
                  </a:lnTo>
                  <a:lnTo>
                    <a:pt x="62" y="611"/>
                  </a:lnTo>
                  <a:lnTo>
                    <a:pt x="62" y="608"/>
                  </a:lnTo>
                  <a:lnTo>
                    <a:pt x="59" y="605"/>
                  </a:lnTo>
                  <a:lnTo>
                    <a:pt x="53" y="605"/>
                  </a:lnTo>
                  <a:lnTo>
                    <a:pt x="50" y="605"/>
                  </a:lnTo>
                  <a:lnTo>
                    <a:pt x="44" y="602"/>
                  </a:lnTo>
                  <a:lnTo>
                    <a:pt x="41" y="602"/>
                  </a:lnTo>
                  <a:lnTo>
                    <a:pt x="39" y="605"/>
                  </a:lnTo>
                  <a:lnTo>
                    <a:pt x="39" y="608"/>
                  </a:lnTo>
                  <a:lnTo>
                    <a:pt x="36" y="611"/>
                  </a:lnTo>
                  <a:lnTo>
                    <a:pt x="36" y="614"/>
                  </a:lnTo>
                  <a:lnTo>
                    <a:pt x="33" y="614"/>
                  </a:lnTo>
                  <a:lnTo>
                    <a:pt x="30" y="614"/>
                  </a:lnTo>
                  <a:lnTo>
                    <a:pt x="24" y="611"/>
                  </a:lnTo>
                  <a:lnTo>
                    <a:pt x="21" y="614"/>
                  </a:lnTo>
                  <a:lnTo>
                    <a:pt x="18" y="611"/>
                  </a:lnTo>
                  <a:lnTo>
                    <a:pt x="18" y="608"/>
                  </a:lnTo>
                  <a:lnTo>
                    <a:pt x="18" y="605"/>
                  </a:lnTo>
                  <a:lnTo>
                    <a:pt x="15" y="602"/>
                  </a:lnTo>
                  <a:lnTo>
                    <a:pt x="12" y="599"/>
                  </a:lnTo>
                  <a:lnTo>
                    <a:pt x="12" y="597"/>
                  </a:lnTo>
                  <a:lnTo>
                    <a:pt x="15" y="594"/>
                  </a:lnTo>
                  <a:lnTo>
                    <a:pt x="18" y="594"/>
                  </a:lnTo>
                  <a:lnTo>
                    <a:pt x="21" y="591"/>
                  </a:lnTo>
                  <a:lnTo>
                    <a:pt x="21" y="588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2" y="588"/>
                  </a:lnTo>
                  <a:lnTo>
                    <a:pt x="9" y="585"/>
                  </a:lnTo>
                  <a:lnTo>
                    <a:pt x="9" y="582"/>
                  </a:lnTo>
                  <a:lnTo>
                    <a:pt x="6" y="582"/>
                  </a:lnTo>
                  <a:lnTo>
                    <a:pt x="3" y="579"/>
                  </a:lnTo>
                  <a:lnTo>
                    <a:pt x="0" y="576"/>
                  </a:lnTo>
                  <a:lnTo>
                    <a:pt x="0" y="570"/>
                  </a:lnTo>
                  <a:lnTo>
                    <a:pt x="0" y="564"/>
                  </a:lnTo>
                  <a:lnTo>
                    <a:pt x="3" y="561"/>
                  </a:lnTo>
                  <a:lnTo>
                    <a:pt x="3" y="555"/>
                  </a:lnTo>
                  <a:lnTo>
                    <a:pt x="6" y="552"/>
                  </a:lnTo>
                  <a:lnTo>
                    <a:pt x="9" y="546"/>
                  </a:lnTo>
                  <a:lnTo>
                    <a:pt x="12" y="543"/>
                  </a:lnTo>
                  <a:lnTo>
                    <a:pt x="12" y="540"/>
                  </a:lnTo>
                  <a:lnTo>
                    <a:pt x="12" y="535"/>
                  </a:lnTo>
                  <a:lnTo>
                    <a:pt x="9" y="535"/>
                  </a:lnTo>
                  <a:lnTo>
                    <a:pt x="6" y="532"/>
                  </a:lnTo>
                  <a:lnTo>
                    <a:pt x="0" y="532"/>
                  </a:lnTo>
                  <a:lnTo>
                    <a:pt x="3" y="532"/>
                  </a:lnTo>
                  <a:lnTo>
                    <a:pt x="3" y="529"/>
                  </a:lnTo>
                  <a:lnTo>
                    <a:pt x="3" y="526"/>
                  </a:lnTo>
                  <a:lnTo>
                    <a:pt x="3" y="523"/>
                  </a:lnTo>
                  <a:lnTo>
                    <a:pt x="6" y="520"/>
                  </a:lnTo>
                  <a:lnTo>
                    <a:pt x="12" y="523"/>
                  </a:lnTo>
                  <a:lnTo>
                    <a:pt x="15" y="526"/>
                  </a:lnTo>
                  <a:lnTo>
                    <a:pt x="21" y="526"/>
                  </a:lnTo>
                  <a:lnTo>
                    <a:pt x="24" y="529"/>
                  </a:lnTo>
                  <a:lnTo>
                    <a:pt x="30" y="526"/>
                  </a:lnTo>
                  <a:lnTo>
                    <a:pt x="33" y="529"/>
                  </a:lnTo>
                  <a:lnTo>
                    <a:pt x="39" y="529"/>
                  </a:lnTo>
                  <a:lnTo>
                    <a:pt x="41" y="526"/>
                  </a:lnTo>
                  <a:lnTo>
                    <a:pt x="47" y="520"/>
                  </a:lnTo>
                  <a:lnTo>
                    <a:pt x="47" y="514"/>
                  </a:lnTo>
                  <a:lnTo>
                    <a:pt x="47" y="511"/>
                  </a:lnTo>
                  <a:lnTo>
                    <a:pt x="47" y="508"/>
                  </a:lnTo>
                  <a:lnTo>
                    <a:pt x="47" y="505"/>
                  </a:lnTo>
                  <a:lnTo>
                    <a:pt x="47" y="502"/>
                  </a:lnTo>
                  <a:lnTo>
                    <a:pt x="44" y="499"/>
                  </a:lnTo>
                  <a:lnTo>
                    <a:pt x="41" y="496"/>
                  </a:lnTo>
                  <a:lnTo>
                    <a:pt x="39" y="496"/>
                  </a:lnTo>
                  <a:lnTo>
                    <a:pt x="39" y="493"/>
                  </a:lnTo>
                  <a:lnTo>
                    <a:pt x="36" y="493"/>
                  </a:lnTo>
                  <a:lnTo>
                    <a:pt x="39" y="490"/>
                  </a:lnTo>
                  <a:lnTo>
                    <a:pt x="36" y="490"/>
                  </a:lnTo>
                  <a:lnTo>
                    <a:pt x="36" y="487"/>
                  </a:lnTo>
                  <a:lnTo>
                    <a:pt x="36" y="484"/>
                  </a:lnTo>
                  <a:lnTo>
                    <a:pt x="33" y="484"/>
                  </a:lnTo>
                  <a:lnTo>
                    <a:pt x="33" y="481"/>
                  </a:lnTo>
                  <a:lnTo>
                    <a:pt x="33" y="478"/>
                  </a:lnTo>
                  <a:lnTo>
                    <a:pt x="33" y="476"/>
                  </a:lnTo>
                  <a:lnTo>
                    <a:pt x="33" y="464"/>
                  </a:lnTo>
                  <a:lnTo>
                    <a:pt x="36" y="464"/>
                  </a:lnTo>
                  <a:lnTo>
                    <a:pt x="36" y="461"/>
                  </a:lnTo>
                  <a:lnTo>
                    <a:pt x="39" y="461"/>
                  </a:lnTo>
                  <a:lnTo>
                    <a:pt x="41" y="464"/>
                  </a:lnTo>
                  <a:lnTo>
                    <a:pt x="44" y="461"/>
                  </a:lnTo>
                  <a:lnTo>
                    <a:pt x="44" y="455"/>
                  </a:lnTo>
                  <a:lnTo>
                    <a:pt x="39" y="452"/>
                  </a:lnTo>
                  <a:lnTo>
                    <a:pt x="39" y="446"/>
                  </a:lnTo>
                  <a:lnTo>
                    <a:pt x="39" y="443"/>
                  </a:lnTo>
                  <a:lnTo>
                    <a:pt x="39" y="440"/>
                  </a:lnTo>
                  <a:lnTo>
                    <a:pt x="39" y="437"/>
                  </a:lnTo>
                  <a:lnTo>
                    <a:pt x="41" y="434"/>
                  </a:lnTo>
                  <a:lnTo>
                    <a:pt x="44" y="434"/>
                  </a:lnTo>
                  <a:lnTo>
                    <a:pt x="44" y="431"/>
                  </a:lnTo>
                  <a:lnTo>
                    <a:pt x="47" y="431"/>
                  </a:lnTo>
                  <a:lnTo>
                    <a:pt x="50" y="431"/>
                  </a:lnTo>
                  <a:lnTo>
                    <a:pt x="53" y="431"/>
                  </a:lnTo>
                  <a:lnTo>
                    <a:pt x="53" y="428"/>
                  </a:lnTo>
                  <a:lnTo>
                    <a:pt x="56" y="428"/>
                  </a:lnTo>
                  <a:lnTo>
                    <a:pt x="59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8" y="428"/>
                  </a:lnTo>
                  <a:lnTo>
                    <a:pt x="71" y="428"/>
                  </a:lnTo>
                  <a:lnTo>
                    <a:pt x="74" y="431"/>
                  </a:lnTo>
                  <a:lnTo>
                    <a:pt x="77" y="431"/>
                  </a:lnTo>
                  <a:lnTo>
                    <a:pt x="80" y="431"/>
                  </a:lnTo>
                  <a:lnTo>
                    <a:pt x="83" y="431"/>
                  </a:lnTo>
                  <a:lnTo>
                    <a:pt x="86" y="431"/>
                  </a:lnTo>
                  <a:lnTo>
                    <a:pt x="89" y="431"/>
                  </a:lnTo>
                  <a:lnTo>
                    <a:pt x="89" y="428"/>
                  </a:lnTo>
                  <a:lnTo>
                    <a:pt x="92" y="425"/>
                  </a:lnTo>
                  <a:lnTo>
                    <a:pt x="95" y="425"/>
                  </a:lnTo>
                  <a:lnTo>
                    <a:pt x="95" y="419"/>
                  </a:lnTo>
                  <a:lnTo>
                    <a:pt x="95" y="414"/>
                  </a:lnTo>
                  <a:lnTo>
                    <a:pt x="95" y="408"/>
                  </a:lnTo>
                  <a:lnTo>
                    <a:pt x="98" y="402"/>
                  </a:lnTo>
                  <a:lnTo>
                    <a:pt x="98" y="396"/>
                  </a:lnTo>
                  <a:lnTo>
                    <a:pt x="103" y="393"/>
                  </a:lnTo>
                  <a:lnTo>
                    <a:pt x="106" y="390"/>
                  </a:lnTo>
                  <a:lnTo>
                    <a:pt x="103" y="387"/>
                  </a:lnTo>
                  <a:lnTo>
                    <a:pt x="100" y="387"/>
                  </a:lnTo>
                  <a:lnTo>
                    <a:pt x="98" y="387"/>
                  </a:lnTo>
                  <a:lnTo>
                    <a:pt x="98" y="384"/>
                  </a:lnTo>
                  <a:lnTo>
                    <a:pt x="95" y="384"/>
                  </a:lnTo>
                  <a:lnTo>
                    <a:pt x="92" y="384"/>
                  </a:lnTo>
                  <a:lnTo>
                    <a:pt x="89" y="384"/>
                  </a:lnTo>
                  <a:lnTo>
                    <a:pt x="86" y="384"/>
                  </a:lnTo>
                  <a:lnTo>
                    <a:pt x="83" y="384"/>
                  </a:lnTo>
                  <a:lnTo>
                    <a:pt x="80" y="384"/>
                  </a:lnTo>
                  <a:lnTo>
                    <a:pt x="74" y="381"/>
                  </a:lnTo>
                  <a:lnTo>
                    <a:pt x="71" y="381"/>
                  </a:lnTo>
                  <a:lnTo>
                    <a:pt x="71" y="375"/>
                  </a:lnTo>
                  <a:lnTo>
                    <a:pt x="71" y="372"/>
                  </a:lnTo>
                  <a:lnTo>
                    <a:pt x="77" y="369"/>
                  </a:lnTo>
                  <a:lnTo>
                    <a:pt x="83" y="366"/>
                  </a:lnTo>
                  <a:lnTo>
                    <a:pt x="86" y="363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89" y="355"/>
                  </a:lnTo>
                  <a:lnTo>
                    <a:pt x="86" y="355"/>
                  </a:lnTo>
                  <a:lnTo>
                    <a:pt x="89" y="352"/>
                  </a:lnTo>
                  <a:lnTo>
                    <a:pt x="92" y="349"/>
                  </a:lnTo>
                  <a:lnTo>
                    <a:pt x="89" y="346"/>
                  </a:lnTo>
                  <a:lnTo>
                    <a:pt x="89" y="343"/>
                  </a:lnTo>
                  <a:lnTo>
                    <a:pt x="89" y="340"/>
                  </a:lnTo>
                  <a:lnTo>
                    <a:pt x="89" y="337"/>
                  </a:lnTo>
                  <a:lnTo>
                    <a:pt x="92" y="334"/>
                  </a:lnTo>
                  <a:lnTo>
                    <a:pt x="92" y="325"/>
                  </a:lnTo>
                  <a:lnTo>
                    <a:pt x="92" y="319"/>
                  </a:lnTo>
                  <a:lnTo>
                    <a:pt x="95" y="313"/>
                  </a:lnTo>
                  <a:lnTo>
                    <a:pt x="98" y="310"/>
                  </a:lnTo>
                  <a:lnTo>
                    <a:pt x="92" y="304"/>
                  </a:lnTo>
                  <a:lnTo>
                    <a:pt x="92" y="301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3" y="296"/>
                  </a:lnTo>
                  <a:lnTo>
                    <a:pt x="86" y="293"/>
                  </a:lnTo>
                  <a:lnTo>
                    <a:pt x="89" y="287"/>
                  </a:lnTo>
                  <a:lnTo>
                    <a:pt x="92" y="284"/>
                  </a:lnTo>
                  <a:lnTo>
                    <a:pt x="95" y="281"/>
                  </a:lnTo>
                  <a:lnTo>
                    <a:pt x="100" y="278"/>
                  </a:lnTo>
                  <a:lnTo>
                    <a:pt x="103" y="272"/>
                  </a:lnTo>
                  <a:lnTo>
                    <a:pt x="106" y="269"/>
                  </a:lnTo>
                  <a:lnTo>
                    <a:pt x="109" y="266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21" y="263"/>
                  </a:lnTo>
                  <a:lnTo>
                    <a:pt x="121" y="260"/>
                  </a:lnTo>
                  <a:lnTo>
                    <a:pt x="118" y="254"/>
                  </a:lnTo>
                  <a:lnTo>
                    <a:pt x="115" y="257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6" y="254"/>
                  </a:lnTo>
                  <a:lnTo>
                    <a:pt x="100" y="254"/>
                  </a:lnTo>
                  <a:lnTo>
                    <a:pt x="98" y="254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9" y="248"/>
                  </a:lnTo>
                  <a:lnTo>
                    <a:pt x="92" y="245"/>
                  </a:lnTo>
                  <a:lnTo>
                    <a:pt x="95" y="242"/>
                  </a:lnTo>
                  <a:lnTo>
                    <a:pt x="103" y="237"/>
                  </a:lnTo>
                  <a:lnTo>
                    <a:pt x="103" y="234"/>
                  </a:lnTo>
                  <a:lnTo>
                    <a:pt x="100" y="234"/>
                  </a:lnTo>
                  <a:lnTo>
                    <a:pt x="100" y="231"/>
                  </a:lnTo>
                  <a:lnTo>
                    <a:pt x="100" y="228"/>
                  </a:lnTo>
                  <a:lnTo>
                    <a:pt x="106" y="225"/>
                  </a:lnTo>
                  <a:lnTo>
                    <a:pt x="109" y="222"/>
                  </a:lnTo>
                  <a:lnTo>
                    <a:pt x="115" y="219"/>
                  </a:lnTo>
                  <a:lnTo>
                    <a:pt x="115" y="216"/>
                  </a:lnTo>
                  <a:lnTo>
                    <a:pt x="115" y="210"/>
                  </a:lnTo>
                  <a:lnTo>
                    <a:pt x="112" y="204"/>
                  </a:lnTo>
                  <a:lnTo>
                    <a:pt x="109" y="201"/>
                  </a:lnTo>
                  <a:lnTo>
                    <a:pt x="112" y="198"/>
                  </a:lnTo>
                  <a:lnTo>
                    <a:pt x="112" y="192"/>
                  </a:lnTo>
                  <a:lnTo>
                    <a:pt x="109" y="189"/>
                  </a:lnTo>
                  <a:lnTo>
                    <a:pt x="109" y="183"/>
                  </a:lnTo>
                  <a:lnTo>
                    <a:pt x="112" y="180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109" y="175"/>
                  </a:lnTo>
                  <a:lnTo>
                    <a:pt x="109" y="172"/>
                  </a:lnTo>
                  <a:lnTo>
                    <a:pt x="103" y="169"/>
                  </a:lnTo>
                  <a:lnTo>
                    <a:pt x="100" y="166"/>
                  </a:lnTo>
                  <a:lnTo>
                    <a:pt x="106" y="166"/>
                  </a:lnTo>
                  <a:lnTo>
                    <a:pt x="109" y="163"/>
                  </a:lnTo>
                  <a:lnTo>
                    <a:pt x="109" y="160"/>
                  </a:lnTo>
                  <a:lnTo>
                    <a:pt x="109" y="154"/>
                  </a:lnTo>
                  <a:lnTo>
                    <a:pt x="112" y="151"/>
                  </a:lnTo>
                  <a:lnTo>
                    <a:pt x="115" y="148"/>
                  </a:lnTo>
                  <a:lnTo>
                    <a:pt x="121" y="145"/>
                  </a:lnTo>
                  <a:lnTo>
                    <a:pt x="124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30" y="142"/>
                  </a:lnTo>
                  <a:lnTo>
                    <a:pt x="130" y="139"/>
                  </a:lnTo>
                  <a:lnTo>
                    <a:pt x="127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6" y="133"/>
                  </a:lnTo>
                  <a:lnTo>
                    <a:pt x="136" y="130"/>
                  </a:lnTo>
                  <a:lnTo>
                    <a:pt x="139" y="130"/>
                  </a:lnTo>
                  <a:lnTo>
                    <a:pt x="139" y="127"/>
                  </a:lnTo>
                  <a:lnTo>
                    <a:pt x="139" y="124"/>
                  </a:lnTo>
                  <a:lnTo>
                    <a:pt x="142" y="124"/>
                  </a:lnTo>
                  <a:lnTo>
                    <a:pt x="142" y="121"/>
                  </a:lnTo>
                  <a:lnTo>
                    <a:pt x="145" y="121"/>
                  </a:lnTo>
                  <a:lnTo>
                    <a:pt x="145" y="118"/>
                  </a:lnTo>
                  <a:lnTo>
                    <a:pt x="148" y="118"/>
                  </a:lnTo>
                  <a:lnTo>
                    <a:pt x="151" y="118"/>
                  </a:lnTo>
                  <a:lnTo>
                    <a:pt x="154" y="118"/>
                  </a:lnTo>
                  <a:lnTo>
                    <a:pt x="157" y="116"/>
                  </a:lnTo>
                  <a:lnTo>
                    <a:pt x="151" y="113"/>
                  </a:lnTo>
                  <a:lnTo>
                    <a:pt x="148" y="110"/>
                  </a:lnTo>
                  <a:lnTo>
                    <a:pt x="142" y="107"/>
                  </a:lnTo>
                  <a:lnTo>
                    <a:pt x="142" y="104"/>
                  </a:lnTo>
                  <a:lnTo>
                    <a:pt x="142" y="101"/>
                  </a:lnTo>
                  <a:lnTo>
                    <a:pt x="139" y="101"/>
                  </a:lnTo>
                  <a:lnTo>
                    <a:pt x="136" y="101"/>
                  </a:lnTo>
                  <a:lnTo>
                    <a:pt x="133" y="95"/>
                  </a:lnTo>
                  <a:lnTo>
                    <a:pt x="136" y="92"/>
                  </a:lnTo>
                  <a:lnTo>
                    <a:pt x="136" y="89"/>
                  </a:lnTo>
                  <a:lnTo>
                    <a:pt x="139" y="86"/>
                  </a:lnTo>
                  <a:lnTo>
                    <a:pt x="142" y="86"/>
                  </a:lnTo>
                  <a:lnTo>
                    <a:pt x="142" y="83"/>
                  </a:lnTo>
                  <a:lnTo>
                    <a:pt x="145" y="77"/>
                  </a:lnTo>
                  <a:lnTo>
                    <a:pt x="148" y="74"/>
                  </a:lnTo>
                  <a:lnTo>
                    <a:pt x="148" y="71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54" y="62"/>
                  </a:lnTo>
                  <a:lnTo>
                    <a:pt x="157" y="62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71" y="68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80" y="71"/>
                  </a:lnTo>
                  <a:lnTo>
                    <a:pt x="183" y="71"/>
                  </a:lnTo>
                  <a:lnTo>
                    <a:pt x="183" y="68"/>
                  </a:lnTo>
                  <a:lnTo>
                    <a:pt x="180" y="62"/>
                  </a:lnTo>
                  <a:lnTo>
                    <a:pt x="183" y="56"/>
                  </a:lnTo>
                  <a:lnTo>
                    <a:pt x="183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39"/>
                  </a:lnTo>
                  <a:lnTo>
                    <a:pt x="195" y="36"/>
                  </a:lnTo>
                  <a:lnTo>
                    <a:pt x="198" y="33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7" y="24"/>
                  </a:lnTo>
                  <a:lnTo>
                    <a:pt x="207" y="21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1" y="9"/>
                  </a:lnTo>
                  <a:lnTo>
                    <a:pt x="198" y="6"/>
                  </a:lnTo>
                  <a:lnTo>
                    <a:pt x="198" y="3"/>
                  </a:lnTo>
                  <a:lnTo>
                    <a:pt x="201" y="0"/>
                  </a:lnTo>
                  <a:lnTo>
                    <a:pt x="201" y="3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7" y="6"/>
                  </a:lnTo>
                  <a:lnTo>
                    <a:pt x="207" y="9"/>
                  </a:lnTo>
                  <a:lnTo>
                    <a:pt x="210" y="9"/>
                  </a:lnTo>
                  <a:lnTo>
                    <a:pt x="213" y="12"/>
                  </a:lnTo>
                  <a:lnTo>
                    <a:pt x="216" y="12"/>
                  </a:lnTo>
                  <a:lnTo>
                    <a:pt x="219" y="12"/>
                  </a:lnTo>
                  <a:lnTo>
                    <a:pt x="221" y="12"/>
                  </a:lnTo>
                  <a:lnTo>
                    <a:pt x="224" y="12"/>
                  </a:lnTo>
                  <a:lnTo>
                    <a:pt x="224" y="9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3" y="12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39" y="15"/>
                  </a:lnTo>
                  <a:lnTo>
                    <a:pt x="242" y="15"/>
                  </a:lnTo>
                  <a:lnTo>
                    <a:pt x="245" y="18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51" y="15"/>
                  </a:lnTo>
                  <a:lnTo>
                    <a:pt x="254" y="18"/>
                  </a:lnTo>
                  <a:lnTo>
                    <a:pt x="257" y="18"/>
                  </a:lnTo>
                  <a:lnTo>
                    <a:pt x="257" y="21"/>
                  </a:lnTo>
                  <a:lnTo>
                    <a:pt x="257" y="24"/>
                  </a:lnTo>
                  <a:lnTo>
                    <a:pt x="254" y="27"/>
                  </a:lnTo>
                  <a:lnTo>
                    <a:pt x="254" y="30"/>
                  </a:lnTo>
                  <a:lnTo>
                    <a:pt x="260" y="30"/>
                  </a:lnTo>
                  <a:lnTo>
                    <a:pt x="266" y="30"/>
                  </a:lnTo>
                  <a:lnTo>
                    <a:pt x="266" y="36"/>
                  </a:lnTo>
                  <a:lnTo>
                    <a:pt x="266" y="39"/>
                  </a:lnTo>
                  <a:lnTo>
                    <a:pt x="263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5" y="42"/>
                  </a:lnTo>
                  <a:lnTo>
                    <a:pt x="280" y="45"/>
                  </a:lnTo>
                  <a:lnTo>
                    <a:pt x="286" y="48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298" y="48"/>
                  </a:lnTo>
                  <a:lnTo>
                    <a:pt x="298" y="45"/>
                  </a:lnTo>
                  <a:lnTo>
                    <a:pt x="298" y="42"/>
                  </a:lnTo>
                  <a:lnTo>
                    <a:pt x="298" y="39"/>
                  </a:lnTo>
                  <a:lnTo>
                    <a:pt x="301" y="36"/>
                  </a:lnTo>
                  <a:lnTo>
                    <a:pt x="304" y="39"/>
                  </a:lnTo>
                  <a:lnTo>
                    <a:pt x="304" y="42"/>
                  </a:lnTo>
                  <a:lnTo>
                    <a:pt x="307" y="42"/>
                  </a:lnTo>
                  <a:lnTo>
                    <a:pt x="310" y="42"/>
                  </a:lnTo>
                  <a:lnTo>
                    <a:pt x="313" y="42"/>
                  </a:lnTo>
                  <a:lnTo>
                    <a:pt x="319" y="45"/>
                  </a:lnTo>
                  <a:lnTo>
                    <a:pt x="325" y="45"/>
                  </a:lnTo>
                  <a:lnTo>
                    <a:pt x="328" y="48"/>
                  </a:lnTo>
                  <a:lnTo>
                    <a:pt x="331" y="45"/>
                  </a:lnTo>
                  <a:lnTo>
                    <a:pt x="331" y="42"/>
                  </a:lnTo>
                  <a:lnTo>
                    <a:pt x="331" y="45"/>
                  </a:lnTo>
                  <a:lnTo>
                    <a:pt x="334" y="45"/>
                  </a:lnTo>
                  <a:lnTo>
                    <a:pt x="337" y="42"/>
                  </a:lnTo>
                  <a:lnTo>
                    <a:pt x="337" y="45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5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39"/>
                  </a:lnTo>
                  <a:lnTo>
                    <a:pt x="348" y="39"/>
                  </a:lnTo>
                  <a:lnTo>
                    <a:pt x="351" y="39"/>
                  </a:lnTo>
                  <a:lnTo>
                    <a:pt x="354" y="39"/>
                  </a:lnTo>
                  <a:lnTo>
                    <a:pt x="357" y="39"/>
                  </a:lnTo>
                  <a:lnTo>
                    <a:pt x="357" y="36"/>
                  </a:lnTo>
                  <a:lnTo>
                    <a:pt x="360" y="36"/>
                  </a:lnTo>
                  <a:lnTo>
                    <a:pt x="363" y="36"/>
                  </a:lnTo>
                  <a:lnTo>
                    <a:pt x="363" y="39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9" y="45"/>
                  </a:lnTo>
                  <a:lnTo>
                    <a:pt x="372" y="48"/>
                  </a:lnTo>
                  <a:lnTo>
                    <a:pt x="375" y="48"/>
                  </a:lnTo>
                  <a:lnTo>
                    <a:pt x="378" y="48"/>
                  </a:lnTo>
                  <a:lnTo>
                    <a:pt x="381" y="51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4" y="59"/>
                  </a:lnTo>
                  <a:lnTo>
                    <a:pt x="384" y="62"/>
                  </a:lnTo>
                  <a:lnTo>
                    <a:pt x="381" y="65"/>
                  </a:lnTo>
                  <a:lnTo>
                    <a:pt x="384" y="68"/>
                  </a:lnTo>
                  <a:lnTo>
                    <a:pt x="381" y="71"/>
                  </a:lnTo>
                  <a:lnTo>
                    <a:pt x="378" y="74"/>
                  </a:lnTo>
                  <a:lnTo>
                    <a:pt x="378" y="77"/>
                  </a:lnTo>
                  <a:lnTo>
                    <a:pt x="378" y="80"/>
                  </a:lnTo>
                  <a:lnTo>
                    <a:pt x="381" y="83"/>
                  </a:lnTo>
                  <a:lnTo>
                    <a:pt x="381" y="86"/>
                  </a:lnTo>
                  <a:lnTo>
                    <a:pt x="378" y="86"/>
                  </a:lnTo>
                  <a:lnTo>
                    <a:pt x="375" y="89"/>
                  </a:lnTo>
                  <a:lnTo>
                    <a:pt x="372" y="89"/>
                  </a:lnTo>
                  <a:lnTo>
                    <a:pt x="369" y="92"/>
                  </a:lnTo>
                  <a:lnTo>
                    <a:pt x="372" y="95"/>
                  </a:lnTo>
                  <a:lnTo>
                    <a:pt x="372" y="98"/>
                  </a:lnTo>
                  <a:lnTo>
                    <a:pt x="375" y="98"/>
                  </a:lnTo>
                  <a:lnTo>
                    <a:pt x="378" y="98"/>
                  </a:lnTo>
                  <a:lnTo>
                    <a:pt x="381" y="98"/>
                  </a:lnTo>
                  <a:lnTo>
                    <a:pt x="381" y="101"/>
                  </a:lnTo>
                  <a:lnTo>
                    <a:pt x="381" y="104"/>
                  </a:lnTo>
                  <a:lnTo>
                    <a:pt x="381" y="107"/>
                  </a:lnTo>
                  <a:lnTo>
                    <a:pt x="381" y="110"/>
                  </a:lnTo>
                  <a:lnTo>
                    <a:pt x="381" y="113"/>
                  </a:lnTo>
                  <a:lnTo>
                    <a:pt x="381" y="118"/>
                  </a:lnTo>
                  <a:lnTo>
                    <a:pt x="381" y="121"/>
                  </a:lnTo>
                  <a:lnTo>
                    <a:pt x="375" y="121"/>
                  </a:lnTo>
                  <a:lnTo>
                    <a:pt x="375" y="124"/>
                  </a:lnTo>
                  <a:lnTo>
                    <a:pt x="378" y="124"/>
                  </a:lnTo>
                  <a:lnTo>
                    <a:pt x="378" y="127"/>
                  </a:lnTo>
                  <a:lnTo>
                    <a:pt x="381" y="127"/>
                  </a:lnTo>
                  <a:lnTo>
                    <a:pt x="384" y="127"/>
                  </a:lnTo>
                  <a:lnTo>
                    <a:pt x="387" y="127"/>
                  </a:lnTo>
                  <a:lnTo>
                    <a:pt x="390" y="130"/>
                  </a:lnTo>
                  <a:lnTo>
                    <a:pt x="393" y="130"/>
                  </a:lnTo>
                  <a:lnTo>
                    <a:pt x="393" y="133"/>
                  </a:lnTo>
                  <a:lnTo>
                    <a:pt x="396" y="133"/>
                  </a:lnTo>
                  <a:lnTo>
                    <a:pt x="399" y="136"/>
                  </a:lnTo>
                  <a:lnTo>
                    <a:pt x="401" y="139"/>
                  </a:lnTo>
                  <a:lnTo>
                    <a:pt x="404" y="136"/>
                  </a:lnTo>
                  <a:lnTo>
                    <a:pt x="404" y="139"/>
                  </a:lnTo>
                  <a:lnTo>
                    <a:pt x="407" y="139"/>
                  </a:lnTo>
                  <a:lnTo>
                    <a:pt x="407" y="136"/>
                  </a:lnTo>
                  <a:lnTo>
                    <a:pt x="410" y="136"/>
                  </a:lnTo>
                  <a:lnTo>
                    <a:pt x="413" y="136"/>
                  </a:lnTo>
                  <a:lnTo>
                    <a:pt x="416" y="136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22" y="139"/>
                  </a:lnTo>
                  <a:lnTo>
                    <a:pt x="422" y="142"/>
                  </a:lnTo>
                  <a:lnTo>
                    <a:pt x="422" y="145"/>
                  </a:lnTo>
                  <a:lnTo>
                    <a:pt x="425" y="148"/>
                  </a:lnTo>
                  <a:lnTo>
                    <a:pt x="428" y="148"/>
                  </a:lnTo>
                  <a:lnTo>
                    <a:pt x="431" y="148"/>
                  </a:lnTo>
                  <a:lnTo>
                    <a:pt x="437" y="148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9" y="145"/>
                  </a:lnTo>
                  <a:lnTo>
                    <a:pt x="452" y="148"/>
                  </a:lnTo>
                  <a:lnTo>
                    <a:pt x="455" y="151"/>
                  </a:lnTo>
                  <a:lnTo>
                    <a:pt x="461" y="154"/>
                  </a:lnTo>
                  <a:lnTo>
                    <a:pt x="463" y="160"/>
                  </a:lnTo>
                  <a:lnTo>
                    <a:pt x="466" y="163"/>
                  </a:lnTo>
                  <a:lnTo>
                    <a:pt x="469" y="169"/>
                  </a:lnTo>
                  <a:lnTo>
                    <a:pt x="472" y="172"/>
                  </a:lnTo>
                  <a:lnTo>
                    <a:pt x="472" y="175"/>
                  </a:lnTo>
                  <a:lnTo>
                    <a:pt x="472" y="180"/>
                  </a:lnTo>
                  <a:lnTo>
                    <a:pt x="475" y="183"/>
                  </a:lnTo>
                  <a:lnTo>
                    <a:pt x="478" y="186"/>
                  </a:lnTo>
                  <a:lnTo>
                    <a:pt x="472" y="189"/>
                  </a:lnTo>
                  <a:lnTo>
                    <a:pt x="472" y="195"/>
                  </a:lnTo>
                  <a:lnTo>
                    <a:pt x="478" y="195"/>
                  </a:lnTo>
                  <a:lnTo>
                    <a:pt x="481" y="195"/>
                  </a:lnTo>
                  <a:lnTo>
                    <a:pt x="484" y="192"/>
                  </a:lnTo>
                  <a:lnTo>
                    <a:pt x="484" y="189"/>
                  </a:lnTo>
                  <a:lnTo>
                    <a:pt x="487" y="189"/>
                  </a:lnTo>
                  <a:lnTo>
                    <a:pt x="487" y="192"/>
                  </a:lnTo>
                  <a:lnTo>
                    <a:pt x="487" y="195"/>
                  </a:lnTo>
                  <a:lnTo>
                    <a:pt x="490" y="198"/>
                  </a:lnTo>
                  <a:lnTo>
                    <a:pt x="493" y="198"/>
                  </a:lnTo>
                  <a:lnTo>
                    <a:pt x="499" y="195"/>
                  </a:lnTo>
                  <a:lnTo>
                    <a:pt x="499" y="198"/>
                  </a:lnTo>
                  <a:lnTo>
                    <a:pt x="496" y="201"/>
                  </a:lnTo>
                  <a:lnTo>
                    <a:pt x="499" y="207"/>
                  </a:lnTo>
                  <a:lnTo>
                    <a:pt x="502" y="219"/>
                  </a:lnTo>
                  <a:lnTo>
                    <a:pt x="502" y="231"/>
                  </a:lnTo>
                  <a:lnTo>
                    <a:pt x="508" y="237"/>
                  </a:lnTo>
                  <a:lnTo>
                    <a:pt x="511" y="237"/>
                  </a:lnTo>
                  <a:lnTo>
                    <a:pt x="517" y="234"/>
                  </a:lnTo>
                  <a:lnTo>
                    <a:pt x="520" y="231"/>
                  </a:lnTo>
                  <a:lnTo>
                    <a:pt x="522" y="231"/>
                  </a:lnTo>
                  <a:lnTo>
                    <a:pt x="531" y="231"/>
                  </a:lnTo>
                  <a:lnTo>
                    <a:pt x="534" y="234"/>
                  </a:lnTo>
                  <a:lnTo>
                    <a:pt x="537" y="237"/>
                  </a:lnTo>
                  <a:lnTo>
                    <a:pt x="543" y="234"/>
                  </a:lnTo>
                  <a:lnTo>
                    <a:pt x="552" y="234"/>
                  </a:lnTo>
                  <a:lnTo>
                    <a:pt x="558" y="237"/>
                  </a:lnTo>
                  <a:lnTo>
                    <a:pt x="561" y="237"/>
                  </a:lnTo>
                  <a:lnTo>
                    <a:pt x="564" y="234"/>
                  </a:lnTo>
                  <a:lnTo>
                    <a:pt x="567" y="234"/>
                  </a:lnTo>
                  <a:lnTo>
                    <a:pt x="570" y="234"/>
                  </a:lnTo>
                  <a:lnTo>
                    <a:pt x="573" y="234"/>
                  </a:lnTo>
                  <a:lnTo>
                    <a:pt x="576" y="231"/>
                  </a:lnTo>
                  <a:lnTo>
                    <a:pt x="584" y="228"/>
                  </a:lnTo>
                  <a:lnTo>
                    <a:pt x="587" y="228"/>
                  </a:lnTo>
                  <a:lnTo>
                    <a:pt x="593" y="225"/>
                  </a:lnTo>
                  <a:lnTo>
                    <a:pt x="599" y="222"/>
                  </a:lnTo>
                  <a:lnTo>
                    <a:pt x="605" y="219"/>
                  </a:lnTo>
                  <a:lnTo>
                    <a:pt x="614" y="213"/>
                  </a:lnTo>
                  <a:lnTo>
                    <a:pt x="614" y="207"/>
                  </a:lnTo>
                  <a:lnTo>
                    <a:pt x="617" y="207"/>
                  </a:lnTo>
                  <a:lnTo>
                    <a:pt x="620" y="204"/>
                  </a:lnTo>
                  <a:lnTo>
                    <a:pt x="626" y="207"/>
                  </a:lnTo>
                  <a:lnTo>
                    <a:pt x="635" y="210"/>
                  </a:lnTo>
                  <a:lnTo>
                    <a:pt x="641" y="213"/>
                  </a:lnTo>
                  <a:lnTo>
                    <a:pt x="643" y="210"/>
                  </a:lnTo>
                  <a:lnTo>
                    <a:pt x="649" y="207"/>
                  </a:lnTo>
                  <a:lnTo>
                    <a:pt x="649" y="204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2"/>
                  </a:lnTo>
                  <a:lnTo>
                    <a:pt x="652" y="189"/>
                  </a:lnTo>
                  <a:lnTo>
                    <a:pt x="649" y="183"/>
                  </a:lnTo>
                  <a:lnTo>
                    <a:pt x="652" y="180"/>
                  </a:lnTo>
                  <a:lnTo>
                    <a:pt x="655" y="177"/>
                  </a:lnTo>
                  <a:lnTo>
                    <a:pt x="649" y="175"/>
                  </a:lnTo>
                  <a:lnTo>
                    <a:pt x="652" y="169"/>
                  </a:lnTo>
                  <a:lnTo>
                    <a:pt x="652" y="163"/>
                  </a:lnTo>
                  <a:lnTo>
                    <a:pt x="655" y="160"/>
                  </a:lnTo>
                  <a:lnTo>
                    <a:pt x="658" y="154"/>
                  </a:lnTo>
                  <a:lnTo>
                    <a:pt x="664" y="151"/>
                  </a:lnTo>
                  <a:lnTo>
                    <a:pt x="670" y="154"/>
                  </a:lnTo>
                  <a:lnTo>
                    <a:pt x="673" y="160"/>
                  </a:lnTo>
                  <a:lnTo>
                    <a:pt x="673" y="163"/>
                  </a:lnTo>
                  <a:lnTo>
                    <a:pt x="673" y="166"/>
                  </a:lnTo>
                  <a:lnTo>
                    <a:pt x="676" y="172"/>
                  </a:lnTo>
                  <a:lnTo>
                    <a:pt x="679" y="172"/>
                  </a:lnTo>
                  <a:lnTo>
                    <a:pt x="679" y="177"/>
                  </a:lnTo>
                  <a:lnTo>
                    <a:pt x="676" y="180"/>
                  </a:lnTo>
                  <a:lnTo>
                    <a:pt x="679" y="186"/>
                  </a:lnTo>
                  <a:lnTo>
                    <a:pt x="685" y="183"/>
                  </a:lnTo>
                  <a:lnTo>
                    <a:pt x="688" y="180"/>
                  </a:lnTo>
                  <a:lnTo>
                    <a:pt x="694" y="175"/>
                  </a:lnTo>
                  <a:lnTo>
                    <a:pt x="700" y="172"/>
                  </a:lnTo>
                  <a:lnTo>
                    <a:pt x="700" y="166"/>
                  </a:lnTo>
                  <a:lnTo>
                    <a:pt x="703" y="160"/>
                  </a:lnTo>
                  <a:lnTo>
                    <a:pt x="711" y="163"/>
                  </a:lnTo>
                  <a:lnTo>
                    <a:pt x="714" y="169"/>
                  </a:lnTo>
                  <a:lnTo>
                    <a:pt x="717" y="172"/>
                  </a:lnTo>
                  <a:lnTo>
                    <a:pt x="720" y="172"/>
                  </a:lnTo>
                  <a:lnTo>
                    <a:pt x="726" y="169"/>
                  </a:lnTo>
                  <a:lnTo>
                    <a:pt x="732" y="166"/>
                  </a:lnTo>
                  <a:lnTo>
                    <a:pt x="732" y="163"/>
                  </a:lnTo>
                  <a:lnTo>
                    <a:pt x="726" y="160"/>
                  </a:lnTo>
                  <a:lnTo>
                    <a:pt x="726" y="157"/>
                  </a:lnTo>
                  <a:lnTo>
                    <a:pt x="729" y="154"/>
                  </a:lnTo>
                  <a:lnTo>
                    <a:pt x="732" y="151"/>
                  </a:lnTo>
                  <a:lnTo>
                    <a:pt x="726" y="151"/>
                  </a:lnTo>
                  <a:lnTo>
                    <a:pt x="723" y="145"/>
                  </a:lnTo>
                  <a:lnTo>
                    <a:pt x="720" y="142"/>
                  </a:lnTo>
                  <a:lnTo>
                    <a:pt x="726" y="139"/>
                  </a:lnTo>
                  <a:lnTo>
                    <a:pt x="726" y="136"/>
                  </a:lnTo>
                  <a:lnTo>
                    <a:pt x="729" y="133"/>
                  </a:lnTo>
                  <a:lnTo>
                    <a:pt x="732" y="127"/>
                  </a:lnTo>
                  <a:lnTo>
                    <a:pt x="738" y="124"/>
                  </a:lnTo>
                  <a:lnTo>
                    <a:pt x="741" y="124"/>
                  </a:lnTo>
                  <a:lnTo>
                    <a:pt x="747" y="127"/>
                  </a:lnTo>
                  <a:lnTo>
                    <a:pt x="750" y="124"/>
                  </a:lnTo>
                  <a:lnTo>
                    <a:pt x="753" y="121"/>
                  </a:lnTo>
                  <a:lnTo>
                    <a:pt x="762" y="118"/>
                  </a:lnTo>
                  <a:lnTo>
                    <a:pt x="767" y="116"/>
                  </a:lnTo>
                  <a:lnTo>
                    <a:pt x="767" y="113"/>
                  </a:lnTo>
                  <a:lnTo>
                    <a:pt x="764" y="110"/>
                  </a:lnTo>
                  <a:lnTo>
                    <a:pt x="762" y="107"/>
                  </a:lnTo>
                  <a:lnTo>
                    <a:pt x="756" y="104"/>
                  </a:lnTo>
                  <a:lnTo>
                    <a:pt x="759" y="101"/>
                  </a:lnTo>
                  <a:lnTo>
                    <a:pt x="762" y="98"/>
                  </a:lnTo>
                  <a:lnTo>
                    <a:pt x="767" y="98"/>
                  </a:lnTo>
                  <a:lnTo>
                    <a:pt x="770" y="101"/>
                  </a:lnTo>
                  <a:lnTo>
                    <a:pt x="773" y="98"/>
                  </a:lnTo>
                  <a:lnTo>
                    <a:pt x="773" y="95"/>
                  </a:lnTo>
                  <a:lnTo>
                    <a:pt x="776" y="92"/>
                  </a:lnTo>
                  <a:lnTo>
                    <a:pt x="782" y="95"/>
                  </a:lnTo>
                  <a:lnTo>
                    <a:pt x="782" y="89"/>
                  </a:lnTo>
                  <a:lnTo>
                    <a:pt x="788" y="89"/>
                  </a:lnTo>
                  <a:lnTo>
                    <a:pt x="791" y="92"/>
                  </a:lnTo>
                  <a:lnTo>
                    <a:pt x="797" y="89"/>
                  </a:lnTo>
                  <a:lnTo>
                    <a:pt x="800" y="92"/>
                  </a:lnTo>
                  <a:lnTo>
                    <a:pt x="803" y="101"/>
                  </a:lnTo>
                  <a:lnTo>
                    <a:pt x="806" y="107"/>
                  </a:lnTo>
                  <a:lnTo>
                    <a:pt x="809" y="104"/>
                  </a:lnTo>
                  <a:lnTo>
                    <a:pt x="809" y="101"/>
                  </a:lnTo>
                  <a:lnTo>
                    <a:pt x="806" y="98"/>
                  </a:lnTo>
                  <a:lnTo>
                    <a:pt x="812" y="95"/>
                  </a:lnTo>
                  <a:lnTo>
                    <a:pt x="815" y="98"/>
                  </a:lnTo>
                  <a:lnTo>
                    <a:pt x="818" y="107"/>
                  </a:lnTo>
                  <a:lnTo>
                    <a:pt x="821" y="113"/>
                  </a:lnTo>
                  <a:lnTo>
                    <a:pt x="826" y="118"/>
                  </a:lnTo>
                  <a:lnTo>
                    <a:pt x="832" y="118"/>
                  </a:lnTo>
                  <a:lnTo>
                    <a:pt x="838" y="118"/>
                  </a:lnTo>
                  <a:lnTo>
                    <a:pt x="844" y="124"/>
                  </a:lnTo>
                  <a:lnTo>
                    <a:pt x="847" y="121"/>
                  </a:lnTo>
                  <a:lnTo>
                    <a:pt x="859" y="118"/>
                  </a:lnTo>
                  <a:lnTo>
                    <a:pt x="868" y="116"/>
                  </a:lnTo>
                  <a:lnTo>
                    <a:pt x="874" y="113"/>
                  </a:lnTo>
                  <a:lnTo>
                    <a:pt x="871" y="107"/>
                  </a:lnTo>
                  <a:lnTo>
                    <a:pt x="880" y="104"/>
                  </a:lnTo>
                  <a:lnTo>
                    <a:pt x="883" y="98"/>
                  </a:lnTo>
                  <a:lnTo>
                    <a:pt x="883" y="92"/>
                  </a:lnTo>
                  <a:lnTo>
                    <a:pt x="888" y="92"/>
                  </a:lnTo>
                  <a:lnTo>
                    <a:pt x="891" y="89"/>
                  </a:lnTo>
                  <a:lnTo>
                    <a:pt x="894" y="89"/>
                  </a:lnTo>
                  <a:lnTo>
                    <a:pt x="897" y="89"/>
                  </a:lnTo>
                  <a:lnTo>
                    <a:pt x="900" y="89"/>
                  </a:lnTo>
                  <a:lnTo>
                    <a:pt x="903" y="89"/>
                  </a:lnTo>
                  <a:lnTo>
                    <a:pt x="906" y="83"/>
                  </a:lnTo>
                  <a:lnTo>
                    <a:pt x="903" y="80"/>
                  </a:lnTo>
                  <a:lnTo>
                    <a:pt x="903" y="77"/>
                  </a:lnTo>
                  <a:lnTo>
                    <a:pt x="906" y="77"/>
                  </a:lnTo>
                  <a:lnTo>
                    <a:pt x="909" y="80"/>
                  </a:lnTo>
                  <a:lnTo>
                    <a:pt x="915" y="83"/>
                  </a:lnTo>
                  <a:lnTo>
                    <a:pt x="918" y="80"/>
                  </a:lnTo>
                  <a:lnTo>
                    <a:pt x="918" y="83"/>
                  </a:lnTo>
                  <a:lnTo>
                    <a:pt x="918" y="89"/>
                  </a:lnTo>
                  <a:lnTo>
                    <a:pt x="912" y="98"/>
                  </a:lnTo>
                  <a:lnTo>
                    <a:pt x="906" y="107"/>
                  </a:lnTo>
                  <a:lnTo>
                    <a:pt x="903" y="113"/>
                  </a:lnTo>
                  <a:lnTo>
                    <a:pt x="900" y="121"/>
                  </a:lnTo>
                  <a:lnTo>
                    <a:pt x="894" y="124"/>
                  </a:lnTo>
                  <a:lnTo>
                    <a:pt x="891" y="124"/>
                  </a:lnTo>
                  <a:lnTo>
                    <a:pt x="885" y="130"/>
                  </a:lnTo>
                  <a:lnTo>
                    <a:pt x="883" y="133"/>
                  </a:lnTo>
                  <a:lnTo>
                    <a:pt x="877" y="139"/>
                  </a:lnTo>
                  <a:lnTo>
                    <a:pt x="874" y="145"/>
                  </a:lnTo>
                  <a:lnTo>
                    <a:pt x="874" y="148"/>
                  </a:lnTo>
                  <a:lnTo>
                    <a:pt x="871" y="154"/>
                  </a:lnTo>
                  <a:lnTo>
                    <a:pt x="859" y="160"/>
                  </a:lnTo>
                  <a:lnTo>
                    <a:pt x="853" y="166"/>
                  </a:lnTo>
                  <a:lnTo>
                    <a:pt x="850" y="172"/>
                  </a:lnTo>
                  <a:lnTo>
                    <a:pt x="850" y="175"/>
                  </a:lnTo>
                  <a:lnTo>
                    <a:pt x="847" y="177"/>
                  </a:lnTo>
                  <a:lnTo>
                    <a:pt x="838" y="183"/>
                  </a:lnTo>
                  <a:lnTo>
                    <a:pt x="832" y="186"/>
                  </a:lnTo>
                  <a:lnTo>
                    <a:pt x="824" y="189"/>
                  </a:lnTo>
                  <a:lnTo>
                    <a:pt x="818" y="192"/>
                  </a:lnTo>
                  <a:lnTo>
                    <a:pt x="812" y="195"/>
                  </a:lnTo>
                  <a:lnTo>
                    <a:pt x="803" y="201"/>
                  </a:lnTo>
                  <a:lnTo>
                    <a:pt x="797" y="207"/>
                  </a:lnTo>
                  <a:lnTo>
                    <a:pt x="791" y="210"/>
                  </a:lnTo>
                  <a:lnTo>
                    <a:pt x="788" y="213"/>
                  </a:lnTo>
                  <a:lnTo>
                    <a:pt x="785" y="216"/>
                  </a:lnTo>
                  <a:lnTo>
                    <a:pt x="779" y="222"/>
                  </a:lnTo>
                  <a:lnTo>
                    <a:pt x="773" y="228"/>
                  </a:lnTo>
                  <a:lnTo>
                    <a:pt x="770" y="234"/>
                  </a:lnTo>
                  <a:lnTo>
                    <a:pt x="764" y="242"/>
                  </a:lnTo>
                  <a:lnTo>
                    <a:pt x="756" y="248"/>
                  </a:lnTo>
                  <a:lnTo>
                    <a:pt x="750" y="254"/>
                  </a:lnTo>
                  <a:lnTo>
                    <a:pt x="741" y="257"/>
                  </a:lnTo>
                  <a:lnTo>
                    <a:pt x="729" y="266"/>
                  </a:lnTo>
                  <a:lnTo>
                    <a:pt x="717" y="272"/>
                  </a:lnTo>
                  <a:lnTo>
                    <a:pt x="705" y="278"/>
                  </a:lnTo>
                  <a:lnTo>
                    <a:pt x="691" y="287"/>
                  </a:lnTo>
                  <a:lnTo>
                    <a:pt x="679" y="293"/>
                  </a:lnTo>
                  <a:lnTo>
                    <a:pt x="670" y="298"/>
                  </a:lnTo>
                  <a:lnTo>
                    <a:pt x="667" y="301"/>
                  </a:lnTo>
                  <a:lnTo>
                    <a:pt x="655" y="316"/>
                  </a:lnTo>
                  <a:lnTo>
                    <a:pt x="646" y="325"/>
                  </a:lnTo>
                  <a:lnTo>
                    <a:pt x="646" y="328"/>
                  </a:lnTo>
                  <a:lnTo>
                    <a:pt x="643" y="331"/>
                  </a:lnTo>
                  <a:lnTo>
                    <a:pt x="643" y="334"/>
                  </a:lnTo>
                  <a:lnTo>
                    <a:pt x="646" y="337"/>
                  </a:lnTo>
                  <a:lnTo>
                    <a:pt x="652" y="337"/>
                  </a:lnTo>
                  <a:lnTo>
                    <a:pt x="655" y="337"/>
                  </a:lnTo>
                  <a:lnTo>
                    <a:pt x="658" y="334"/>
                  </a:lnTo>
                  <a:lnTo>
                    <a:pt x="655" y="334"/>
                  </a:lnTo>
                  <a:lnTo>
                    <a:pt x="655" y="331"/>
                  </a:lnTo>
                  <a:lnTo>
                    <a:pt x="652" y="325"/>
                  </a:lnTo>
                  <a:lnTo>
                    <a:pt x="655" y="325"/>
                  </a:lnTo>
                  <a:lnTo>
                    <a:pt x="658" y="325"/>
                  </a:lnTo>
                  <a:lnTo>
                    <a:pt x="661" y="331"/>
                  </a:lnTo>
                  <a:lnTo>
                    <a:pt x="661" y="334"/>
                  </a:lnTo>
                  <a:lnTo>
                    <a:pt x="661" y="337"/>
                  </a:lnTo>
                  <a:lnTo>
                    <a:pt x="658" y="343"/>
                  </a:lnTo>
                  <a:lnTo>
                    <a:pt x="658" y="346"/>
                  </a:lnTo>
                  <a:lnTo>
                    <a:pt x="655" y="352"/>
                  </a:lnTo>
                  <a:lnTo>
                    <a:pt x="655" y="355"/>
                  </a:lnTo>
                  <a:lnTo>
                    <a:pt x="655" y="357"/>
                  </a:lnTo>
                  <a:lnTo>
                    <a:pt x="652" y="357"/>
                  </a:lnTo>
                  <a:lnTo>
                    <a:pt x="649" y="357"/>
                  </a:lnTo>
                  <a:lnTo>
                    <a:pt x="649" y="355"/>
                  </a:lnTo>
                  <a:lnTo>
                    <a:pt x="646" y="355"/>
                  </a:lnTo>
                  <a:lnTo>
                    <a:pt x="641" y="352"/>
                  </a:lnTo>
                  <a:lnTo>
                    <a:pt x="638" y="355"/>
                  </a:lnTo>
                  <a:lnTo>
                    <a:pt x="641" y="357"/>
                  </a:lnTo>
                  <a:lnTo>
                    <a:pt x="641" y="360"/>
                  </a:lnTo>
                  <a:lnTo>
                    <a:pt x="643" y="363"/>
                  </a:lnTo>
                  <a:lnTo>
                    <a:pt x="649" y="363"/>
                  </a:lnTo>
                  <a:lnTo>
                    <a:pt x="649" y="366"/>
                  </a:lnTo>
                  <a:lnTo>
                    <a:pt x="649" y="369"/>
                  </a:lnTo>
                  <a:lnTo>
                    <a:pt x="646" y="369"/>
                  </a:lnTo>
                  <a:lnTo>
                    <a:pt x="646" y="372"/>
                  </a:lnTo>
                  <a:lnTo>
                    <a:pt x="643" y="372"/>
                  </a:lnTo>
                  <a:lnTo>
                    <a:pt x="638" y="375"/>
                  </a:lnTo>
                  <a:lnTo>
                    <a:pt x="629" y="381"/>
                  </a:lnTo>
                  <a:lnTo>
                    <a:pt x="614" y="387"/>
                  </a:lnTo>
                  <a:lnTo>
                    <a:pt x="608" y="387"/>
                  </a:lnTo>
                  <a:lnTo>
                    <a:pt x="602" y="390"/>
                  </a:lnTo>
                  <a:lnTo>
                    <a:pt x="593" y="393"/>
                  </a:lnTo>
                  <a:lnTo>
                    <a:pt x="587" y="396"/>
                  </a:lnTo>
                  <a:lnTo>
                    <a:pt x="587" y="393"/>
                  </a:lnTo>
                  <a:lnTo>
                    <a:pt x="584" y="390"/>
                  </a:lnTo>
                  <a:lnTo>
                    <a:pt x="582" y="390"/>
                  </a:lnTo>
                  <a:lnTo>
                    <a:pt x="582" y="393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79" y="396"/>
                  </a:lnTo>
                  <a:lnTo>
                    <a:pt x="576" y="396"/>
                  </a:lnTo>
                  <a:lnTo>
                    <a:pt x="564" y="396"/>
                  </a:lnTo>
                  <a:lnTo>
                    <a:pt x="561" y="393"/>
                  </a:lnTo>
                  <a:lnTo>
                    <a:pt x="555" y="396"/>
                  </a:lnTo>
                  <a:lnTo>
                    <a:pt x="549" y="396"/>
                  </a:lnTo>
                  <a:lnTo>
                    <a:pt x="549" y="393"/>
                  </a:lnTo>
                  <a:lnTo>
                    <a:pt x="546" y="393"/>
                  </a:lnTo>
                  <a:lnTo>
                    <a:pt x="540" y="393"/>
                  </a:lnTo>
                  <a:lnTo>
                    <a:pt x="537" y="396"/>
                  </a:lnTo>
                  <a:lnTo>
                    <a:pt x="534" y="396"/>
                  </a:lnTo>
                  <a:lnTo>
                    <a:pt x="528" y="402"/>
                  </a:lnTo>
                  <a:lnTo>
                    <a:pt x="531" y="402"/>
                  </a:lnTo>
                  <a:lnTo>
                    <a:pt x="531" y="405"/>
                  </a:lnTo>
                  <a:lnTo>
                    <a:pt x="528" y="408"/>
                  </a:lnTo>
                  <a:lnTo>
                    <a:pt x="525" y="411"/>
                  </a:lnTo>
                  <a:lnTo>
                    <a:pt x="525" y="417"/>
                  </a:lnTo>
                  <a:lnTo>
                    <a:pt x="522" y="422"/>
                  </a:lnTo>
                  <a:lnTo>
                    <a:pt x="522" y="425"/>
                  </a:lnTo>
                  <a:lnTo>
                    <a:pt x="517" y="434"/>
                  </a:lnTo>
                  <a:lnTo>
                    <a:pt x="514" y="440"/>
                  </a:lnTo>
                  <a:lnTo>
                    <a:pt x="511" y="440"/>
                  </a:lnTo>
                  <a:lnTo>
                    <a:pt x="505" y="446"/>
                  </a:lnTo>
                  <a:lnTo>
                    <a:pt x="502" y="449"/>
                  </a:lnTo>
                  <a:lnTo>
                    <a:pt x="499" y="455"/>
                  </a:lnTo>
                  <a:lnTo>
                    <a:pt x="499" y="461"/>
                  </a:lnTo>
                  <a:lnTo>
                    <a:pt x="496" y="464"/>
                  </a:lnTo>
                  <a:lnTo>
                    <a:pt x="490" y="464"/>
                  </a:lnTo>
                  <a:lnTo>
                    <a:pt x="484" y="464"/>
                  </a:lnTo>
                  <a:lnTo>
                    <a:pt x="481" y="464"/>
                  </a:lnTo>
                  <a:lnTo>
                    <a:pt x="478" y="464"/>
                  </a:lnTo>
                  <a:lnTo>
                    <a:pt x="478" y="461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8" y="455"/>
                  </a:lnTo>
                  <a:lnTo>
                    <a:pt x="478" y="458"/>
                  </a:lnTo>
                  <a:lnTo>
                    <a:pt x="481" y="458"/>
                  </a:lnTo>
                  <a:lnTo>
                    <a:pt x="481" y="455"/>
                  </a:lnTo>
                  <a:lnTo>
                    <a:pt x="478" y="452"/>
                  </a:lnTo>
                  <a:lnTo>
                    <a:pt x="478" y="449"/>
                  </a:lnTo>
                  <a:lnTo>
                    <a:pt x="475" y="446"/>
                  </a:lnTo>
                  <a:lnTo>
                    <a:pt x="472" y="446"/>
                  </a:lnTo>
                  <a:lnTo>
                    <a:pt x="469" y="446"/>
                  </a:lnTo>
                  <a:lnTo>
                    <a:pt x="463" y="446"/>
                  </a:lnTo>
                  <a:lnTo>
                    <a:pt x="463" y="443"/>
                  </a:lnTo>
                  <a:lnTo>
                    <a:pt x="461" y="446"/>
                  </a:lnTo>
                  <a:lnTo>
                    <a:pt x="458" y="446"/>
                  </a:lnTo>
                  <a:lnTo>
                    <a:pt x="455" y="446"/>
                  </a:lnTo>
                  <a:lnTo>
                    <a:pt x="452" y="446"/>
                  </a:lnTo>
                  <a:lnTo>
                    <a:pt x="449" y="446"/>
                  </a:lnTo>
                  <a:lnTo>
                    <a:pt x="449" y="449"/>
                  </a:lnTo>
                  <a:lnTo>
                    <a:pt x="446" y="449"/>
                  </a:lnTo>
                  <a:lnTo>
                    <a:pt x="446" y="446"/>
                  </a:lnTo>
                  <a:lnTo>
                    <a:pt x="443" y="449"/>
                  </a:lnTo>
                  <a:lnTo>
                    <a:pt x="440" y="449"/>
                  </a:lnTo>
                  <a:lnTo>
                    <a:pt x="431" y="452"/>
                  </a:lnTo>
                  <a:lnTo>
                    <a:pt x="422" y="458"/>
                  </a:lnTo>
                  <a:lnTo>
                    <a:pt x="413" y="467"/>
                  </a:lnTo>
                  <a:lnTo>
                    <a:pt x="410" y="478"/>
                  </a:lnTo>
                  <a:lnTo>
                    <a:pt x="407" y="484"/>
                  </a:lnTo>
                  <a:lnTo>
                    <a:pt x="407" y="490"/>
                  </a:lnTo>
                  <a:lnTo>
                    <a:pt x="401" y="493"/>
                  </a:lnTo>
                  <a:lnTo>
                    <a:pt x="399" y="499"/>
                  </a:lnTo>
                  <a:lnTo>
                    <a:pt x="396" y="508"/>
                  </a:lnTo>
                  <a:lnTo>
                    <a:pt x="393" y="511"/>
                  </a:lnTo>
                  <a:lnTo>
                    <a:pt x="393" y="520"/>
                  </a:lnTo>
                  <a:lnTo>
                    <a:pt x="390" y="526"/>
                  </a:lnTo>
                  <a:lnTo>
                    <a:pt x="390" y="529"/>
                  </a:lnTo>
                  <a:lnTo>
                    <a:pt x="390" y="532"/>
                  </a:lnTo>
                  <a:lnTo>
                    <a:pt x="390" y="537"/>
                  </a:lnTo>
                  <a:lnTo>
                    <a:pt x="390" y="543"/>
                  </a:lnTo>
                  <a:lnTo>
                    <a:pt x="390" y="546"/>
                  </a:lnTo>
                  <a:lnTo>
                    <a:pt x="396" y="552"/>
                  </a:lnTo>
                  <a:lnTo>
                    <a:pt x="396" y="558"/>
                  </a:lnTo>
                  <a:lnTo>
                    <a:pt x="399" y="564"/>
                  </a:lnTo>
                  <a:lnTo>
                    <a:pt x="401" y="573"/>
                  </a:lnTo>
                  <a:lnTo>
                    <a:pt x="404" y="582"/>
                  </a:lnTo>
                  <a:lnTo>
                    <a:pt x="407" y="588"/>
                  </a:lnTo>
                  <a:lnTo>
                    <a:pt x="407" y="594"/>
                  </a:lnTo>
                  <a:lnTo>
                    <a:pt x="404" y="599"/>
                  </a:lnTo>
                  <a:lnTo>
                    <a:pt x="401" y="608"/>
                  </a:lnTo>
                  <a:lnTo>
                    <a:pt x="401" y="614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3" y="620"/>
                  </a:lnTo>
                  <a:lnTo>
                    <a:pt x="390" y="620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90" y="626"/>
                  </a:lnTo>
                  <a:lnTo>
                    <a:pt x="393" y="623"/>
                  </a:lnTo>
                  <a:lnTo>
                    <a:pt x="399" y="623"/>
                  </a:lnTo>
                  <a:lnTo>
                    <a:pt x="396" y="629"/>
                  </a:lnTo>
                  <a:lnTo>
                    <a:pt x="396" y="635"/>
                  </a:lnTo>
                  <a:lnTo>
                    <a:pt x="399" y="641"/>
                  </a:lnTo>
                  <a:lnTo>
                    <a:pt x="401" y="650"/>
                  </a:lnTo>
                  <a:lnTo>
                    <a:pt x="407" y="658"/>
                  </a:lnTo>
                  <a:lnTo>
                    <a:pt x="410" y="661"/>
                  </a:lnTo>
                  <a:lnTo>
                    <a:pt x="413" y="667"/>
                  </a:lnTo>
                  <a:lnTo>
                    <a:pt x="413" y="670"/>
                  </a:lnTo>
                  <a:lnTo>
                    <a:pt x="410" y="679"/>
                  </a:lnTo>
                  <a:lnTo>
                    <a:pt x="410" y="682"/>
                  </a:lnTo>
                  <a:lnTo>
                    <a:pt x="410" y="688"/>
                  </a:lnTo>
                  <a:lnTo>
                    <a:pt x="413" y="691"/>
                  </a:lnTo>
                  <a:lnTo>
                    <a:pt x="416" y="694"/>
                  </a:lnTo>
                  <a:lnTo>
                    <a:pt x="413" y="697"/>
                  </a:lnTo>
                  <a:lnTo>
                    <a:pt x="410" y="691"/>
                  </a:lnTo>
                  <a:lnTo>
                    <a:pt x="407" y="688"/>
                  </a:lnTo>
                  <a:lnTo>
                    <a:pt x="404" y="682"/>
                  </a:lnTo>
                  <a:lnTo>
                    <a:pt x="401" y="679"/>
                  </a:lnTo>
                  <a:lnTo>
                    <a:pt x="399" y="682"/>
                  </a:lnTo>
                  <a:lnTo>
                    <a:pt x="399" y="685"/>
                  </a:lnTo>
                  <a:lnTo>
                    <a:pt x="399" y="691"/>
                  </a:lnTo>
                  <a:lnTo>
                    <a:pt x="399" y="694"/>
                  </a:lnTo>
                  <a:lnTo>
                    <a:pt x="399" y="691"/>
                  </a:lnTo>
                  <a:lnTo>
                    <a:pt x="396" y="688"/>
                  </a:lnTo>
                  <a:lnTo>
                    <a:pt x="393" y="685"/>
                  </a:lnTo>
                  <a:lnTo>
                    <a:pt x="390" y="685"/>
                  </a:lnTo>
                  <a:lnTo>
                    <a:pt x="390" y="688"/>
                  </a:lnTo>
                  <a:lnTo>
                    <a:pt x="390" y="691"/>
                  </a:lnTo>
                  <a:lnTo>
                    <a:pt x="393" y="697"/>
                  </a:lnTo>
                  <a:lnTo>
                    <a:pt x="393" y="700"/>
                  </a:lnTo>
                  <a:lnTo>
                    <a:pt x="384" y="697"/>
                  </a:lnTo>
                  <a:lnTo>
                    <a:pt x="387" y="700"/>
                  </a:lnTo>
                  <a:lnTo>
                    <a:pt x="387" y="703"/>
                  </a:lnTo>
                  <a:lnTo>
                    <a:pt x="381" y="703"/>
                  </a:lnTo>
                  <a:lnTo>
                    <a:pt x="378" y="709"/>
                  </a:lnTo>
                  <a:lnTo>
                    <a:pt x="375" y="712"/>
                  </a:lnTo>
                  <a:lnTo>
                    <a:pt x="375" y="718"/>
                  </a:lnTo>
                  <a:lnTo>
                    <a:pt x="369" y="720"/>
                  </a:lnTo>
                  <a:lnTo>
                    <a:pt x="366" y="720"/>
                  </a:lnTo>
                  <a:lnTo>
                    <a:pt x="360" y="723"/>
                  </a:lnTo>
                  <a:lnTo>
                    <a:pt x="357" y="723"/>
                  </a:lnTo>
                  <a:lnTo>
                    <a:pt x="354" y="723"/>
                  </a:lnTo>
                  <a:lnTo>
                    <a:pt x="351" y="723"/>
                  </a:lnTo>
                  <a:lnTo>
                    <a:pt x="354" y="726"/>
                  </a:lnTo>
                  <a:lnTo>
                    <a:pt x="357" y="729"/>
                  </a:lnTo>
                  <a:lnTo>
                    <a:pt x="351" y="732"/>
                  </a:lnTo>
                  <a:lnTo>
                    <a:pt x="348" y="732"/>
                  </a:lnTo>
                  <a:lnTo>
                    <a:pt x="342" y="729"/>
                  </a:lnTo>
                  <a:lnTo>
                    <a:pt x="345" y="726"/>
                  </a:lnTo>
                  <a:lnTo>
                    <a:pt x="342" y="723"/>
                  </a:lnTo>
                  <a:lnTo>
                    <a:pt x="340" y="723"/>
                  </a:lnTo>
                  <a:lnTo>
                    <a:pt x="334" y="726"/>
                  </a:lnTo>
                  <a:lnTo>
                    <a:pt x="331" y="726"/>
                  </a:lnTo>
                  <a:lnTo>
                    <a:pt x="328" y="723"/>
                  </a:lnTo>
                  <a:lnTo>
                    <a:pt x="328" y="720"/>
                  </a:lnTo>
                  <a:lnTo>
                    <a:pt x="325" y="720"/>
                  </a:lnTo>
                  <a:lnTo>
                    <a:pt x="319" y="718"/>
                  </a:lnTo>
                  <a:lnTo>
                    <a:pt x="313" y="720"/>
                  </a:lnTo>
                  <a:lnTo>
                    <a:pt x="310" y="720"/>
                  </a:lnTo>
                  <a:lnTo>
                    <a:pt x="313" y="723"/>
                  </a:lnTo>
                  <a:lnTo>
                    <a:pt x="313" y="726"/>
                  </a:lnTo>
                  <a:lnTo>
                    <a:pt x="313" y="729"/>
                  </a:lnTo>
                  <a:lnTo>
                    <a:pt x="313" y="732"/>
                  </a:lnTo>
                  <a:lnTo>
                    <a:pt x="307" y="735"/>
                  </a:lnTo>
                  <a:lnTo>
                    <a:pt x="304" y="735"/>
                  </a:lnTo>
                  <a:lnTo>
                    <a:pt x="304" y="738"/>
                  </a:lnTo>
                  <a:lnTo>
                    <a:pt x="301" y="741"/>
                  </a:lnTo>
                  <a:lnTo>
                    <a:pt x="298" y="741"/>
                  </a:lnTo>
                  <a:lnTo>
                    <a:pt x="295" y="741"/>
                  </a:lnTo>
                  <a:lnTo>
                    <a:pt x="295" y="738"/>
                  </a:lnTo>
                  <a:lnTo>
                    <a:pt x="292" y="738"/>
                  </a:lnTo>
                  <a:lnTo>
                    <a:pt x="286" y="741"/>
                  </a:lnTo>
                  <a:lnTo>
                    <a:pt x="283" y="750"/>
                  </a:lnTo>
                  <a:lnTo>
                    <a:pt x="280" y="750"/>
                  </a:lnTo>
                  <a:lnTo>
                    <a:pt x="275" y="750"/>
                  </a:lnTo>
                  <a:lnTo>
                    <a:pt x="272" y="750"/>
                  </a:lnTo>
                  <a:lnTo>
                    <a:pt x="269" y="747"/>
                  </a:lnTo>
                  <a:lnTo>
                    <a:pt x="263" y="747"/>
                  </a:lnTo>
                  <a:lnTo>
                    <a:pt x="257" y="744"/>
                  </a:lnTo>
                  <a:lnTo>
                    <a:pt x="254" y="744"/>
                  </a:lnTo>
                  <a:lnTo>
                    <a:pt x="254" y="747"/>
                  </a:lnTo>
                  <a:lnTo>
                    <a:pt x="248" y="750"/>
                  </a:lnTo>
                  <a:lnTo>
                    <a:pt x="248" y="747"/>
                  </a:lnTo>
                  <a:lnTo>
                    <a:pt x="245" y="744"/>
                  </a:lnTo>
                  <a:lnTo>
                    <a:pt x="236" y="744"/>
                  </a:lnTo>
                  <a:lnTo>
                    <a:pt x="233" y="747"/>
                  </a:lnTo>
                  <a:lnTo>
                    <a:pt x="227" y="747"/>
                  </a:lnTo>
                  <a:lnTo>
                    <a:pt x="227" y="750"/>
                  </a:lnTo>
                  <a:lnTo>
                    <a:pt x="221" y="750"/>
                  </a:lnTo>
                  <a:lnTo>
                    <a:pt x="219" y="756"/>
                  </a:lnTo>
                  <a:lnTo>
                    <a:pt x="219" y="762"/>
                  </a:lnTo>
                  <a:lnTo>
                    <a:pt x="213" y="774"/>
                  </a:lnTo>
                  <a:lnTo>
                    <a:pt x="210" y="779"/>
                  </a:lnTo>
                  <a:lnTo>
                    <a:pt x="207" y="779"/>
                  </a:lnTo>
                  <a:lnTo>
                    <a:pt x="204" y="779"/>
                  </a:lnTo>
                  <a:lnTo>
                    <a:pt x="201" y="785"/>
                  </a:lnTo>
                  <a:lnTo>
                    <a:pt x="198" y="788"/>
                  </a:lnTo>
                  <a:lnTo>
                    <a:pt x="195" y="791"/>
                  </a:lnTo>
                  <a:lnTo>
                    <a:pt x="189" y="794"/>
                  </a:lnTo>
                  <a:lnTo>
                    <a:pt x="189" y="791"/>
                  </a:lnTo>
                  <a:lnTo>
                    <a:pt x="183" y="791"/>
                  </a:lnTo>
                  <a:lnTo>
                    <a:pt x="177" y="788"/>
                  </a:lnTo>
                  <a:lnTo>
                    <a:pt x="171" y="782"/>
                  </a:lnTo>
                  <a:lnTo>
                    <a:pt x="165" y="77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0" name="Freeform 131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34639" y="1693564"/>
              <a:ext cx="11235" cy="17393"/>
            </a:xfrm>
            <a:custGeom>
              <a:avLst/>
              <a:gdLst>
                <a:gd name="T0" fmla="*/ 9 w 68"/>
                <a:gd name="T1" fmla="*/ 6 h 98"/>
                <a:gd name="T2" fmla="*/ 18 w 68"/>
                <a:gd name="T3" fmla="*/ 3 h 98"/>
                <a:gd name="T4" fmla="*/ 21 w 68"/>
                <a:gd name="T5" fmla="*/ 3 h 98"/>
                <a:gd name="T6" fmla="*/ 27 w 68"/>
                <a:gd name="T7" fmla="*/ 6 h 98"/>
                <a:gd name="T8" fmla="*/ 30 w 68"/>
                <a:gd name="T9" fmla="*/ 15 h 98"/>
                <a:gd name="T10" fmla="*/ 35 w 68"/>
                <a:gd name="T11" fmla="*/ 21 h 98"/>
                <a:gd name="T12" fmla="*/ 44 w 68"/>
                <a:gd name="T13" fmla="*/ 21 h 98"/>
                <a:gd name="T14" fmla="*/ 47 w 68"/>
                <a:gd name="T15" fmla="*/ 18 h 98"/>
                <a:gd name="T16" fmla="*/ 53 w 68"/>
                <a:gd name="T17" fmla="*/ 18 h 98"/>
                <a:gd name="T18" fmla="*/ 62 w 68"/>
                <a:gd name="T19" fmla="*/ 15 h 98"/>
                <a:gd name="T20" fmla="*/ 65 w 68"/>
                <a:gd name="T21" fmla="*/ 39 h 98"/>
                <a:gd name="T22" fmla="*/ 65 w 68"/>
                <a:gd name="T23" fmla="*/ 48 h 98"/>
                <a:gd name="T24" fmla="*/ 68 w 68"/>
                <a:gd name="T25" fmla="*/ 59 h 98"/>
                <a:gd name="T26" fmla="*/ 62 w 68"/>
                <a:gd name="T27" fmla="*/ 62 h 98"/>
                <a:gd name="T28" fmla="*/ 68 w 68"/>
                <a:gd name="T29" fmla="*/ 71 h 98"/>
                <a:gd name="T30" fmla="*/ 62 w 68"/>
                <a:gd name="T31" fmla="*/ 77 h 98"/>
                <a:gd name="T32" fmla="*/ 65 w 68"/>
                <a:gd name="T33" fmla="*/ 86 h 98"/>
                <a:gd name="T34" fmla="*/ 59 w 68"/>
                <a:gd name="T35" fmla="*/ 95 h 98"/>
                <a:gd name="T36" fmla="*/ 50 w 68"/>
                <a:gd name="T37" fmla="*/ 95 h 98"/>
                <a:gd name="T38" fmla="*/ 47 w 68"/>
                <a:gd name="T39" fmla="*/ 98 h 98"/>
                <a:gd name="T40" fmla="*/ 38 w 68"/>
                <a:gd name="T41" fmla="*/ 98 h 98"/>
                <a:gd name="T42" fmla="*/ 35 w 68"/>
                <a:gd name="T43" fmla="*/ 89 h 98"/>
                <a:gd name="T44" fmla="*/ 32 w 68"/>
                <a:gd name="T45" fmla="*/ 86 h 98"/>
                <a:gd name="T46" fmla="*/ 30 w 68"/>
                <a:gd name="T47" fmla="*/ 83 h 98"/>
                <a:gd name="T48" fmla="*/ 24 w 68"/>
                <a:gd name="T49" fmla="*/ 77 h 98"/>
                <a:gd name="T50" fmla="*/ 27 w 68"/>
                <a:gd name="T51" fmla="*/ 71 h 98"/>
                <a:gd name="T52" fmla="*/ 24 w 68"/>
                <a:gd name="T53" fmla="*/ 65 h 98"/>
                <a:gd name="T54" fmla="*/ 24 w 68"/>
                <a:gd name="T55" fmla="*/ 56 h 98"/>
                <a:gd name="T56" fmla="*/ 21 w 68"/>
                <a:gd name="T57" fmla="*/ 48 h 98"/>
                <a:gd name="T58" fmla="*/ 15 w 68"/>
                <a:gd name="T59" fmla="*/ 45 h 98"/>
                <a:gd name="T60" fmla="*/ 9 w 68"/>
                <a:gd name="T61" fmla="*/ 42 h 98"/>
                <a:gd name="T62" fmla="*/ 18 w 68"/>
                <a:gd name="T63" fmla="*/ 45 h 98"/>
                <a:gd name="T64" fmla="*/ 27 w 68"/>
                <a:gd name="T65" fmla="*/ 45 h 98"/>
                <a:gd name="T66" fmla="*/ 24 w 68"/>
                <a:gd name="T67" fmla="*/ 42 h 98"/>
                <a:gd name="T68" fmla="*/ 15 w 68"/>
                <a:gd name="T69" fmla="*/ 39 h 98"/>
                <a:gd name="T70" fmla="*/ 12 w 68"/>
                <a:gd name="T71" fmla="*/ 36 h 98"/>
                <a:gd name="T72" fmla="*/ 9 w 68"/>
                <a:gd name="T73" fmla="*/ 33 h 98"/>
                <a:gd name="T74" fmla="*/ 6 w 68"/>
                <a:gd name="T75" fmla="*/ 27 h 98"/>
                <a:gd name="T76" fmla="*/ 3 w 68"/>
                <a:gd name="T77" fmla="*/ 21 h 98"/>
                <a:gd name="T78" fmla="*/ 3 w 68"/>
                <a:gd name="T79" fmla="*/ 12 h 98"/>
                <a:gd name="T80" fmla="*/ 0 w 68"/>
                <a:gd name="T81" fmla="*/ 6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"/>
                <a:gd name="T124" fmla="*/ 0 h 98"/>
                <a:gd name="T125" fmla="*/ 68 w 68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" h="98">
                  <a:moveTo>
                    <a:pt x="0" y="6"/>
                  </a:moveTo>
                  <a:lnTo>
                    <a:pt x="9" y="6"/>
                  </a:lnTo>
                  <a:lnTo>
                    <a:pt x="12" y="6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30" y="15"/>
                  </a:lnTo>
                  <a:lnTo>
                    <a:pt x="30" y="21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4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3" y="18"/>
                  </a:lnTo>
                  <a:lnTo>
                    <a:pt x="56" y="15"/>
                  </a:lnTo>
                  <a:lnTo>
                    <a:pt x="62" y="15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8" y="53"/>
                  </a:lnTo>
                  <a:lnTo>
                    <a:pt x="68" y="59"/>
                  </a:lnTo>
                  <a:lnTo>
                    <a:pt x="62" y="59"/>
                  </a:lnTo>
                  <a:lnTo>
                    <a:pt x="62" y="62"/>
                  </a:lnTo>
                  <a:lnTo>
                    <a:pt x="65" y="68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65" y="86"/>
                  </a:lnTo>
                  <a:lnTo>
                    <a:pt x="62" y="92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0" y="95"/>
                  </a:lnTo>
                  <a:lnTo>
                    <a:pt x="47" y="95"/>
                  </a:lnTo>
                  <a:lnTo>
                    <a:pt x="47" y="98"/>
                  </a:lnTo>
                  <a:lnTo>
                    <a:pt x="41" y="98"/>
                  </a:lnTo>
                  <a:lnTo>
                    <a:pt x="38" y="98"/>
                  </a:lnTo>
                  <a:lnTo>
                    <a:pt x="35" y="95"/>
                  </a:lnTo>
                  <a:lnTo>
                    <a:pt x="35" y="89"/>
                  </a:lnTo>
                  <a:lnTo>
                    <a:pt x="35" y="86"/>
                  </a:lnTo>
                  <a:lnTo>
                    <a:pt x="32" y="86"/>
                  </a:lnTo>
                  <a:lnTo>
                    <a:pt x="30" y="86"/>
                  </a:lnTo>
                  <a:lnTo>
                    <a:pt x="30" y="83"/>
                  </a:lnTo>
                  <a:lnTo>
                    <a:pt x="27" y="80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1" y="48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15" y="42"/>
                  </a:lnTo>
                  <a:lnTo>
                    <a:pt x="18" y="45"/>
                  </a:lnTo>
                  <a:lnTo>
                    <a:pt x="21" y="45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Freeform 13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8198124" y="1769524"/>
              <a:ext cx="30236" cy="64423"/>
            </a:xfrm>
            <a:custGeom>
              <a:avLst/>
              <a:gdLst>
                <a:gd name="T0" fmla="*/ 9 w 183"/>
                <a:gd name="T1" fmla="*/ 160 h 363"/>
                <a:gd name="T2" fmla="*/ 11 w 183"/>
                <a:gd name="T3" fmla="*/ 160 h 363"/>
                <a:gd name="T4" fmla="*/ 11 w 183"/>
                <a:gd name="T5" fmla="*/ 163 h 363"/>
                <a:gd name="T6" fmla="*/ 9 w 183"/>
                <a:gd name="T7" fmla="*/ 163 h 363"/>
                <a:gd name="T8" fmla="*/ 9 w 183"/>
                <a:gd name="T9" fmla="*/ 160 h 363"/>
                <a:gd name="T10" fmla="*/ 174 w 183"/>
                <a:gd name="T11" fmla="*/ 171 h 363"/>
                <a:gd name="T12" fmla="*/ 174 w 183"/>
                <a:gd name="T13" fmla="*/ 174 h 363"/>
                <a:gd name="T14" fmla="*/ 174 w 183"/>
                <a:gd name="T15" fmla="*/ 174 h 363"/>
                <a:gd name="T16" fmla="*/ 174 w 183"/>
                <a:gd name="T17" fmla="*/ 171 h 363"/>
                <a:gd name="T18" fmla="*/ 70 w 183"/>
                <a:gd name="T19" fmla="*/ 0 h 363"/>
                <a:gd name="T20" fmla="*/ 70 w 183"/>
                <a:gd name="T21" fmla="*/ 3 h 363"/>
                <a:gd name="T22" fmla="*/ 70 w 183"/>
                <a:gd name="T23" fmla="*/ 0 h 363"/>
                <a:gd name="T24" fmla="*/ 180 w 183"/>
                <a:gd name="T25" fmla="*/ 101 h 363"/>
                <a:gd name="T26" fmla="*/ 183 w 183"/>
                <a:gd name="T27" fmla="*/ 101 h 363"/>
                <a:gd name="T28" fmla="*/ 183 w 183"/>
                <a:gd name="T29" fmla="*/ 104 h 363"/>
                <a:gd name="T30" fmla="*/ 180 w 183"/>
                <a:gd name="T31" fmla="*/ 101 h 363"/>
                <a:gd name="T32" fmla="*/ 68 w 183"/>
                <a:gd name="T33" fmla="*/ 62 h 363"/>
                <a:gd name="T34" fmla="*/ 70 w 183"/>
                <a:gd name="T35" fmla="*/ 62 h 363"/>
                <a:gd name="T36" fmla="*/ 68 w 183"/>
                <a:gd name="T37" fmla="*/ 62 h 363"/>
                <a:gd name="T38" fmla="*/ 106 w 183"/>
                <a:gd name="T39" fmla="*/ 24 h 363"/>
                <a:gd name="T40" fmla="*/ 106 w 183"/>
                <a:gd name="T41" fmla="*/ 27 h 363"/>
                <a:gd name="T42" fmla="*/ 103 w 183"/>
                <a:gd name="T43" fmla="*/ 27 h 363"/>
                <a:gd name="T44" fmla="*/ 106 w 183"/>
                <a:gd name="T45" fmla="*/ 24 h 363"/>
                <a:gd name="T46" fmla="*/ 50 w 183"/>
                <a:gd name="T47" fmla="*/ 118 h 363"/>
                <a:gd name="T48" fmla="*/ 53 w 183"/>
                <a:gd name="T49" fmla="*/ 118 h 363"/>
                <a:gd name="T50" fmla="*/ 53 w 183"/>
                <a:gd name="T51" fmla="*/ 121 h 363"/>
                <a:gd name="T52" fmla="*/ 50 w 183"/>
                <a:gd name="T53" fmla="*/ 121 h 363"/>
                <a:gd name="T54" fmla="*/ 50 w 183"/>
                <a:gd name="T55" fmla="*/ 118 h 363"/>
                <a:gd name="T56" fmla="*/ 168 w 183"/>
                <a:gd name="T57" fmla="*/ 177 h 363"/>
                <a:gd name="T58" fmla="*/ 171 w 183"/>
                <a:gd name="T59" fmla="*/ 177 h 363"/>
                <a:gd name="T60" fmla="*/ 171 w 183"/>
                <a:gd name="T61" fmla="*/ 183 h 363"/>
                <a:gd name="T62" fmla="*/ 168 w 183"/>
                <a:gd name="T63" fmla="*/ 183 h 363"/>
                <a:gd name="T64" fmla="*/ 168 w 183"/>
                <a:gd name="T65" fmla="*/ 177 h 363"/>
                <a:gd name="T66" fmla="*/ 0 w 183"/>
                <a:gd name="T67" fmla="*/ 89 h 363"/>
                <a:gd name="T68" fmla="*/ 0 w 183"/>
                <a:gd name="T69" fmla="*/ 86 h 363"/>
                <a:gd name="T70" fmla="*/ 0 w 183"/>
                <a:gd name="T71" fmla="*/ 83 h 363"/>
                <a:gd name="T72" fmla="*/ 3 w 183"/>
                <a:gd name="T73" fmla="*/ 83 h 363"/>
                <a:gd name="T74" fmla="*/ 0 w 183"/>
                <a:gd name="T75" fmla="*/ 86 h 363"/>
                <a:gd name="T76" fmla="*/ 0 w 183"/>
                <a:gd name="T77" fmla="*/ 89 h 363"/>
                <a:gd name="T78" fmla="*/ 73 w 183"/>
                <a:gd name="T79" fmla="*/ 53 h 363"/>
                <a:gd name="T80" fmla="*/ 73 w 183"/>
                <a:gd name="T81" fmla="*/ 56 h 363"/>
                <a:gd name="T82" fmla="*/ 73 w 183"/>
                <a:gd name="T83" fmla="*/ 53 h 363"/>
                <a:gd name="T84" fmla="*/ 73 w 183"/>
                <a:gd name="T85" fmla="*/ 50 h 363"/>
                <a:gd name="T86" fmla="*/ 76 w 183"/>
                <a:gd name="T87" fmla="*/ 47 h 363"/>
                <a:gd name="T88" fmla="*/ 76 w 183"/>
                <a:gd name="T89" fmla="*/ 50 h 363"/>
                <a:gd name="T90" fmla="*/ 73 w 183"/>
                <a:gd name="T91" fmla="*/ 53 h 363"/>
                <a:gd name="T92" fmla="*/ 82 w 183"/>
                <a:gd name="T93" fmla="*/ 363 h 363"/>
                <a:gd name="T94" fmla="*/ 79 w 183"/>
                <a:gd name="T95" fmla="*/ 363 h 363"/>
                <a:gd name="T96" fmla="*/ 82 w 183"/>
                <a:gd name="T97" fmla="*/ 363 h 363"/>
                <a:gd name="T98" fmla="*/ 85 w 183"/>
                <a:gd name="T99" fmla="*/ 363 h 363"/>
                <a:gd name="T100" fmla="*/ 85 w 183"/>
                <a:gd name="T101" fmla="*/ 360 h 363"/>
                <a:gd name="T102" fmla="*/ 88 w 183"/>
                <a:gd name="T103" fmla="*/ 360 h 363"/>
                <a:gd name="T104" fmla="*/ 88 w 183"/>
                <a:gd name="T105" fmla="*/ 357 h 363"/>
                <a:gd name="T106" fmla="*/ 88 w 183"/>
                <a:gd name="T107" fmla="*/ 360 h 363"/>
                <a:gd name="T108" fmla="*/ 85 w 183"/>
                <a:gd name="T109" fmla="*/ 363 h 363"/>
                <a:gd name="T110" fmla="*/ 82 w 183"/>
                <a:gd name="T111" fmla="*/ 363 h 36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3"/>
                <a:gd name="T169" fmla="*/ 0 h 363"/>
                <a:gd name="T170" fmla="*/ 183 w 183"/>
                <a:gd name="T171" fmla="*/ 363 h 36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3" h="363">
                  <a:moveTo>
                    <a:pt x="9" y="160"/>
                  </a:moveTo>
                  <a:lnTo>
                    <a:pt x="11" y="160"/>
                  </a:lnTo>
                  <a:lnTo>
                    <a:pt x="11" y="163"/>
                  </a:lnTo>
                  <a:lnTo>
                    <a:pt x="9" y="163"/>
                  </a:lnTo>
                  <a:lnTo>
                    <a:pt x="9" y="160"/>
                  </a:lnTo>
                  <a:close/>
                  <a:moveTo>
                    <a:pt x="174" y="171"/>
                  </a:moveTo>
                  <a:lnTo>
                    <a:pt x="174" y="174"/>
                  </a:lnTo>
                  <a:lnTo>
                    <a:pt x="174" y="171"/>
                  </a:lnTo>
                  <a:close/>
                  <a:moveTo>
                    <a:pt x="70" y="0"/>
                  </a:moveTo>
                  <a:lnTo>
                    <a:pt x="70" y="3"/>
                  </a:lnTo>
                  <a:lnTo>
                    <a:pt x="70" y="0"/>
                  </a:lnTo>
                  <a:close/>
                  <a:moveTo>
                    <a:pt x="180" y="101"/>
                  </a:moveTo>
                  <a:lnTo>
                    <a:pt x="183" y="101"/>
                  </a:lnTo>
                  <a:lnTo>
                    <a:pt x="183" y="104"/>
                  </a:lnTo>
                  <a:lnTo>
                    <a:pt x="180" y="101"/>
                  </a:lnTo>
                  <a:close/>
                  <a:moveTo>
                    <a:pt x="68" y="62"/>
                  </a:moveTo>
                  <a:lnTo>
                    <a:pt x="70" y="62"/>
                  </a:lnTo>
                  <a:lnTo>
                    <a:pt x="68" y="62"/>
                  </a:lnTo>
                  <a:close/>
                  <a:moveTo>
                    <a:pt x="106" y="24"/>
                  </a:moveTo>
                  <a:lnTo>
                    <a:pt x="106" y="27"/>
                  </a:lnTo>
                  <a:lnTo>
                    <a:pt x="103" y="27"/>
                  </a:lnTo>
                  <a:lnTo>
                    <a:pt x="106" y="24"/>
                  </a:lnTo>
                  <a:close/>
                  <a:moveTo>
                    <a:pt x="50" y="118"/>
                  </a:move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0" y="118"/>
                  </a:lnTo>
                  <a:close/>
                  <a:moveTo>
                    <a:pt x="168" y="177"/>
                  </a:moveTo>
                  <a:lnTo>
                    <a:pt x="171" y="177"/>
                  </a:lnTo>
                  <a:lnTo>
                    <a:pt x="171" y="183"/>
                  </a:lnTo>
                  <a:lnTo>
                    <a:pt x="168" y="183"/>
                  </a:lnTo>
                  <a:lnTo>
                    <a:pt x="168" y="177"/>
                  </a:lnTo>
                  <a:close/>
                  <a:moveTo>
                    <a:pt x="0" y="89"/>
                  </a:moveTo>
                  <a:lnTo>
                    <a:pt x="0" y="86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0" y="86"/>
                  </a:lnTo>
                  <a:lnTo>
                    <a:pt x="0" y="89"/>
                  </a:lnTo>
                  <a:close/>
                  <a:moveTo>
                    <a:pt x="73" y="53"/>
                  </a:moveTo>
                  <a:lnTo>
                    <a:pt x="73" y="56"/>
                  </a:lnTo>
                  <a:lnTo>
                    <a:pt x="73" y="53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3" y="53"/>
                  </a:lnTo>
                  <a:close/>
                  <a:moveTo>
                    <a:pt x="82" y="363"/>
                  </a:moveTo>
                  <a:lnTo>
                    <a:pt x="79" y="363"/>
                  </a:lnTo>
                  <a:lnTo>
                    <a:pt x="82" y="363"/>
                  </a:lnTo>
                  <a:lnTo>
                    <a:pt x="85" y="363"/>
                  </a:lnTo>
                  <a:lnTo>
                    <a:pt x="85" y="360"/>
                  </a:lnTo>
                  <a:lnTo>
                    <a:pt x="88" y="360"/>
                  </a:lnTo>
                  <a:lnTo>
                    <a:pt x="88" y="357"/>
                  </a:lnTo>
                  <a:lnTo>
                    <a:pt x="88" y="360"/>
                  </a:lnTo>
                  <a:lnTo>
                    <a:pt x="85" y="363"/>
                  </a:lnTo>
                  <a:lnTo>
                    <a:pt x="82" y="36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Freeform 133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600781" y="1722493"/>
              <a:ext cx="45437" cy="125652"/>
            </a:xfrm>
            <a:custGeom>
              <a:avLst/>
              <a:gdLst>
                <a:gd name="T0" fmla="*/ 68 w 275"/>
                <a:gd name="T1" fmla="*/ 70 h 708"/>
                <a:gd name="T2" fmla="*/ 68 w 275"/>
                <a:gd name="T3" fmla="*/ 6 h 708"/>
                <a:gd name="T4" fmla="*/ 74 w 275"/>
                <a:gd name="T5" fmla="*/ 76 h 708"/>
                <a:gd name="T6" fmla="*/ 6 w 275"/>
                <a:gd name="T7" fmla="*/ 239 h 708"/>
                <a:gd name="T8" fmla="*/ 92 w 275"/>
                <a:gd name="T9" fmla="*/ 168 h 708"/>
                <a:gd name="T10" fmla="*/ 210 w 275"/>
                <a:gd name="T11" fmla="*/ 587 h 708"/>
                <a:gd name="T12" fmla="*/ 92 w 275"/>
                <a:gd name="T13" fmla="*/ 156 h 708"/>
                <a:gd name="T14" fmla="*/ 39 w 275"/>
                <a:gd name="T15" fmla="*/ 97 h 708"/>
                <a:gd name="T16" fmla="*/ 42 w 275"/>
                <a:gd name="T17" fmla="*/ 85 h 708"/>
                <a:gd name="T18" fmla="*/ 39 w 275"/>
                <a:gd name="T19" fmla="*/ 100 h 708"/>
                <a:gd name="T20" fmla="*/ 95 w 275"/>
                <a:gd name="T21" fmla="*/ 469 h 708"/>
                <a:gd name="T22" fmla="*/ 98 w 275"/>
                <a:gd name="T23" fmla="*/ 481 h 708"/>
                <a:gd name="T24" fmla="*/ 50 w 275"/>
                <a:gd name="T25" fmla="*/ 236 h 708"/>
                <a:gd name="T26" fmla="*/ 59 w 275"/>
                <a:gd name="T27" fmla="*/ 250 h 708"/>
                <a:gd name="T28" fmla="*/ 151 w 275"/>
                <a:gd name="T29" fmla="*/ 554 h 708"/>
                <a:gd name="T30" fmla="*/ 157 w 275"/>
                <a:gd name="T31" fmla="*/ 569 h 708"/>
                <a:gd name="T32" fmla="*/ 89 w 275"/>
                <a:gd name="T33" fmla="*/ 177 h 708"/>
                <a:gd name="T34" fmla="*/ 198 w 275"/>
                <a:gd name="T35" fmla="*/ 572 h 708"/>
                <a:gd name="T36" fmla="*/ 204 w 275"/>
                <a:gd name="T37" fmla="*/ 566 h 708"/>
                <a:gd name="T38" fmla="*/ 207 w 275"/>
                <a:gd name="T39" fmla="*/ 581 h 708"/>
                <a:gd name="T40" fmla="*/ 180 w 275"/>
                <a:gd name="T41" fmla="*/ 593 h 708"/>
                <a:gd name="T42" fmla="*/ 198 w 275"/>
                <a:gd name="T43" fmla="*/ 593 h 708"/>
                <a:gd name="T44" fmla="*/ 186 w 275"/>
                <a:gd name="T45" fmla="*/ 596 h 708"/>
                <a:gd name="T46" fmla="*/ 239 w 275"/>
                <a:gd name="T47" fmla="*/ 646 h 708"/>
                <a:gd name="T48" fmla="*/ 236 w 275"/>
                <a:gd name="T49" fmla="*/ 658 h 708"/>
                <a:gd name="T50" fmla="*/ 36 w 275"/>
                <a:gd name="T51" fmla="*/ 310 h 708"/>
                <a:gd name="T52" fmla="*/ 53 w 275"/>
                <a:gd name="T53" fmla="*/ 315 h 708"/>
                <a:gd name="T54" fmla="*/ 48 w 275"/>
                <a:gd name="T55" fmla="*/ 342 h 708"/>
                <a:gd name="T56" fmla="*/ 33 w 275"/>
                <a:gd name="T57" fmla="*/ 330 h 708"/>
                <a:gd name="T58" fmla="*/ 245 w 275"/>
                <a:gd name="T59" fmla="*/ 667 h 708"/>
                <a:gd name="T60" fmla="*/ 263 w 275"/>
                <a:gd name="T61" fmla="*/ 661 h 708"/>
                <a:gd name="T62" fmla="*/ 275 w 275"/>
                <a:gd name="T63" fmla="*/ 684 h 708"/>
                <a:gd name="T64" fmla="*/ 269 w 275"/>
                <a:gd name="T65" fmla="*/ 702 h 708"/>
                <a:gd name="T66" fmla="*/ 260 w 275"/>
                <a:gd name="T67" fmla="*/ 699 h 708"/>
                <a:gd name="T68" fmla="*/ 242 w 275"/>
                <a:gd name="T69" fmla="*/ 684 h 708"/>
                <a:gd name="T70" fmla="*/ 36 w 275"/>
                <a:gd name="T71" fmla="*/ 197 h 708"/>
                <a:gd name="T72" fmla="*/ 42 w 275"/>
                <a:gd name="T73" fmla="*/ 177 h 708"/>
                <a:gd name="T74" fmla="*/ 48 w 275"/>
                <a:gd name="T75" fmla="*/ 147 h 708"/>
                <a:gd name="T76" fmla="*/ 42 w 275"/>
                <a:gd name="T77" fmla="*/ 118 h 708"/>
                <a:gd name="T78" fmla="*/ 45 w 275"/>
                <a:gd name="T79" fmla="*/ 97 h 708"/>
                <a:gd name="T80" fmla="*/ 50 w 275"/>
                <a:gd name="T81" fmla="*/ 82 h 708"/>
                <a:gd name="T82" fmla="*/ 50 w 275"/>
                <a:gd name="T83" fmla="*/ 62 h 708"/>
                <a:gd name="T84" fmla="*/ 50 w 275"/>
                <a:gd name="T85" fmla="*/ 44 h 708"/>
                <a:gd name="T86" fmla="*/ 53 w 275"/>
                <a:gd name="T87" fmla="*/ 29 h 708"/>
                <a:gd name="T88" fmla="*/ 59 w 275"/>
                <a:gd name="T89" fmla="*/ 17 h 708"/>
                <a:gd name="T90" fmla="*/ 74 w 275"/>
                <a:gd name="T91" fmla="*/ 26 h 708"/>
                <a:gd name="T92" fmla="*/ 74 w 275"/>
                <a:gd name="T93" fmla="*/ 35 h 708"/>
                <a:gd name="T94" fmla="*/ 77 w 275"/>
                <a:gd name="T95" fmla="*/ 44 h 708"/>
                <a:gd name="T96" fmla="*/ 71 w 275"/>
                <a:gd name="T97" fmla="*/ 70 h 708"/>
                <a:gd name="T98" fmla="*/ 62 w 275"/>
                <a:gd name="T99" fmla="*/ 73 h 708"/>
                <a:gd name="T100" fmla="*/ 59 w 275"/>
                <a:gd name="T101" fmla="*/ 79 h 708"/>
                <a:gd name="T102" fmla="*/ 65 w 275"/>
                <a:gd name="T103" fmla="*/ 85 h 708"/>
                <a:gd name="T104" fmla="*/ 74 w 275"/>
                <a:gd name="T105" fmla="*/ 112 h 708"/>
                <a:gd name="T106" fmla="*/ 74 w 275"/>
                <a:gd name="T107" fmla="*/ 132 h 708"/>
                <a:gd name="T108" fmla="*/ 68 w 275"/>
                <a:gd name="T109" fmla="*/ 150 h 708"/>
                <a:gd name="T110" fmla="*/ 65 w 275"/>
                <a:gd name="T111" fmla="*/ 168 h 708"/>
                <a:gd name="T112" fmla="*/ 59 w 275"/>
                <a:gd name="T113" fmla="*/ 180 h 708"/>
                <a:gd name="T114" fmla="*/ 62 w 275"/>
                <a:gd name="T115" fmla="*/ 189 h 708"/>
                <a:gd name="T116" fmla="*/ 65 w 275"/>
                <a:gd name="T117" fmla="*/ 218 h 708"/>
                <a:gd name="T118" fmla="*/ 56 w 275"/>
                <a:gd name="T119" fmla="*/ 236 h 708"/>
                <a:gd name="T120" fmla="*/ 50 w 275"/>
                <a:gd name="T121" fmla="*/ 221 h 708"/>
                <a:gd name="T122" fmla="*/ 39 w 275"/>
                <a:gd name="T123" fmla="*/ 206 h 7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5"/>
                <a:gd name="T187" fmla="*/ 0 h 708"/>
                <a:gd name="T188" fmla="*/ 275 w 275"/>
                <a:gd name="T189" fmla="*/ 708 h 7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5" h="708">
                  <a:moveTo>
                    <a:pt x="68" y="79"/>
                  </a:moveTo>
                  <a:lnTo>
                    <a:pt x="71" y="76"/>
                  </a:lnTo>
                  <a:lnTo>
                    <a:pt x="71" y="79"/>
                  </a:lnTo>
                  <a:lnTo>
                    <a:pt x="68" y="79"/>
                  </a:lnTo>
                  <a:close/>
                  <a:moveTo>
                    <a:pt x="112" y="510"/>
                  </a:moveTo>
                  <a:lnTo>
                    <a:pt x="115" y="513"/>
                  </a:lnTo>
                  <a:lnTo>
                    <a:pt x="112" y="513"/>
                  </a:lnTo>
                  <a:lnTo>
                    <a:pt x="112" y="510"/>
                  </a:lnTo>
                  <a:close/>
                  <a:moveTo>
                    <a:pt x="65" y="70"/>
                  </a:moveTo>
                  <a:lnTo>
                    <a:pt x="68" y="70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0"/>
                  </a:lnTo>
                  <a:close/>
                  <a:moveTo>
                    <a:pt x="65" y="3"/>
                  </a:moveTo>
                  <a:lnTo>
                    <a:pt x="62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8" y="3"/>
                  </a:lnTo>
                  <a:lnTo>
                    <a:pt x="65" y="3"/>
                  </a:lnTo>
                  <a:close/>
                  <a:moveTo>
                    <a:pt x="71" y="76"/>
                  </a:moveTo>
                  <a:lnTo>
                    <a:pt x="68" y="76"/>
                  </a:lnTo>
                  <a:lnTo>
                    <a:pt x="71" y="76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1" y="76"/>
                  </a:lnTo>
                  <a:close/>
                  <a:moveTo>
                    <a:pt x="0" y="236"/>
                  </a:moveTo>
                  <a:lnTo>
                    <a:pt x="0" y="233"/>
                  </a:lnTo>
                  <a:lnTo>
                    <a:pt x="3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9" y="236"/>
                  </a:lnTo>
                  <a:lnTo>
                    <a:pt x="9" y="239"/>
                  </a:lnTo>
                  <a:lnTo>
                    <a:pt x="6" y="239"/>
                  </a:lnTo>
                  <a:lnTo>
                    <a:pt x="0" y="239"/>
                  </a:lnTo>
                  <a:lnTo>
                    <a:pt x="0" y="236"/>
                  </a:lnTo>
                  <a:close/>
                  <a:moveTo>
                    <a:pt x="92" y="171"/>
                  </a:moveTo>
                  <a:lnTo>
                    <a:pt x="89" y="168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9"/>
                  </a:lnTo>
                  <a:lnTo>
                    <a:pt x="89" y="162"/>
                  </a:lnTo>
                  <a:lnTo>
                    <a:pt x="92" y="165"/>
                  </a:lnTo>
                  <a:lnTo>
                    <a:pt x="92" y="168"/>
                  </a:lnTo>
                  <a:lnTo>
                    <a:pt x="95" y="168"/>
                  </a:lnTo>
                  <a:lnTo>
                    <a:pt x="95" y="171"/>
                  </a:lnTo>
                  <a:lnTo>
                    <a:pt x="92" y="171"/>
                  </a:lnTo>
                  <a:close/>
                  <a:moveTo>
                    <a:pt x="210" y="590"/>
                  </a:moveTo>
                  <a:lnTo>
                    <a:pt x="207" y="590"/>
                  </a:lnTo>
                  <a:lnTo>
                    <a:pt x="204" y="587"/>
                  </a:lnTo>
                  <a:lnTo>
                    <a:pt x="207" y="587"/>
                  </a:lnTo>
                  <a:lnTo>
                    <a:pt x="207" y="584"/>
                  </a:lnTo>
                  <a:lnTo>
                    <a:pt x="210" y="584"/>
                  </a:lnTo>
                  <a:lnTo>
                    <a:pt x="210" y="587"/>
                  </a:lnTo>
                  <a:lnTo>
                    <a:pt x="210" y="584"/>
                  </a:lnTo>
                  <a:lnTo>
                    <a:pt x="213" y="587"/>
                  </a:lnTo>
                  <a:lnTo>
                    <a:pt x="213" y="590"/>
                  </a:lnTo>
                  <a:lnTo>
                    <a:pt x="216" y="593"/>
                  </a:lnTo>
                  <a:lnTo>
                    <a:pt x="213" y="593"/>
                  </a:lnTo>
                  <a:lnTo>
                    <a:pt x="210" y="590"/>
                  </a:lnTo>
                  <a:close/>
                  <a:moveTo>
                    <a:pt x="92" y="165"/>
                  </a:moveTo>
                  <a:lnTo>
                    <a:pt x="92" y="162"/>
                  </a:lnTo>
                  <a:lnTo>
                    <a:pt x="92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6"/>
                  </a:lnTo>
                  <a:lnTo>
                    <a:pt x="98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8" y="168"/>
                  </a:lnTo>
                  <a:lnTo>
                    <a:pt x="95" y="165"/>
                  </a:lnTo>
                  <a:lnTo>
                    <a:pt x="92" y="165"/>
                  </a:lnTo>
                  <a:close/>
                  <a:moveTo>
                    <a:pt x="39" y="100"/>
                  </a:moveTo>
                  <a:lnTo>
                    <a:pt x="39" y="97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9" y="82"/>
                  </a:lnTo>
                  <a:lnTo>
                    <a:pt x="36" y="82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5"/>
                  </a:lnTo>
                  <a:lnTo>
                    <a:pt x="42" y="88"/>
                  </a:lnTo>
                  <a:lnTo>
                    <a:pt x="45" y="88"/>
                  </a:lnTo>
                  <a:lnTo>
                    <a:pt x="42" y="91"/>
                  </a:lnTo>
                  <a:lnTo>
                    <a:pt x="42" y="94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4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9" y="100"/>
                  </a:lnTo>
                  <a:close/>
                  <a:moveTo>
                    <a:pt x="92" y="484"/>
                  </a:moveTo>
                  <a:lnTo>
                    <a:pt x="92" y="481"/>
                  </a:lnTo>
                  <a:lnTo>
                    <a:pt x="92" y="478"/>
                  </a:lnTo>
                  <a:lnTo>
                    <a:pt x="89" y="475"/>
                  </a:lnTo>
                  <a:lnTo>
                    <a:pt x="92" y="472"/>
                  </a:lnTo>
                  <a:lnTo>
                    <a:pt x="95" y="475"/>
                  </a:lnTo>
                  <a:lnTo>
                    <a:pt x="95" y="472"/>
                  </a:lnTo>
                  <a:lnTo>
                    <a:pt x="98" y="472"/>
                  </a:lnTo>
                  <a:lnTo>
                    <a:pt x="98" y="469"/>
                  </a:lnTo>
                  <a:lnTo>
                    <a:pt x="95" y="469"/>
                  </a:lnTo>
                  <a:lnTo>
                    <a:pt x="98" y="469"/>
                  </a:lnTo>
                  <a:lnTo>
                    <a:pt x="101" y="472"/>
                  </a:lnTo>
                  <a:lnTo>
                    <a:pt x="104" y="475"/>
                  </a:lnTo>
                  <a:lnTo>
                    <a:pt x="104" y="478"/>
                  </a:lnTo>
                  <a:lnTo>
                    <a:pt x="104" y="481"/>
                  </a:lnTo>
                  <a:lnTo>
                    <a:pt x="101" y="481"/>
                  </a:lnTo>
                  <a:lnTo>
                    <a:pt x="98" y="484"/>
                  </a:lnTo>
                  <a:lnTo>
                    <a:pt x="98" y="481"/>
                  </a:lnTo>
                  <a:lnTo>
                    <a:pt x="101" y="481"/>
                  </a:lnTo>
                  <a:lnTo>
                    <a:pt x="98" y="481"/>
                  </a:lnTo>
                  <a:lnTo>
                    <a:pt x="98" y="484"/>
                  </a:lnTo>
                  <a:lnTo>
                    <a:pt x="95" y="484"/>
                  </a:lnTo>
                  <a:lnTo>
                    <a:pt x="92" y="484"/>
                  </a:lnTo>
                  <a:close/>
                  <a:moveTo>
                    <a:pt x="50" y="253"/>
                  </a:moveTo>
                  <a:lnTo>
                    <a:pt x="48" y="250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0" y="242"/>
                  </a:lnTo>
                  <a:lnTo>
                    <a:pt x="50" y="239"/>
                  </a:lnTo>
                  <a:lnTo>
                    <a:pt x="50" y="236"/>
                  </a:lnTo>
                  <a:lnTo>
                    <a:pt x="53" y="236"/>
                  </a:lnTo>
                  <a:lnTo>
                    <a:pt x="56" y="236"/>
                  </a:lnTo>
                  <a:lnTo>
                    <a:pt x="56" y="239"/>
                  </a:lnTo>
                  <a:lnTo>
                    <a:pt x="59" y="242"/>
                  </a:lnTo>
                  <a:lnTo>
                    <a:pt x="56" y="245"/>
                  </a:lnTo>
                  <a:lnTo>
                    <a:pt x="56" y="248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8"/>
                  </a:lnTo>
                  <a:lnTo>
                    <a:pt x="59" y="250"/>
                  </a:lnTo>
                  <a:lnTo>
                    <a:pt x="56" y="250"/>
                  </a:lnTo>
                  <a:lnTo>
                    <a:pt x="53" y="250"/>
                  </a:lnTo>
                  <a:lnTo>
                    <a:pt x="50" y="253"/>
                  </a:lnTo>
                  <a:close/>
                  <a:moveTo>
                    <a:pt x="151" y="566"/>
                  </a:moveTo>
                  <a:lnTo>
                    <a:pt x="148" y="566"/>
                  </a:lnTo>
                  <a:lnTo>
                    <a:pt x="148" y="563"/>
                  </a:lnTo>
                  <a:lnTo>
                    <a:pt x="148" y="560"/>
                  </a:lnTo>
                  <a:lnTo>
                    <a:pt x="148" y="557"/>
                  </a:lnTo>
                  <a:lnTo>
                    <a:pt x="151" y="557"/>
                  </a:lnTo>
                  <a:lnTo>
                    <a:pt x="151" y="554"/>
                  </a:lnTo>
                  <a:lnTo>
                    <a:pt x="154" y="557"/>
                  </a:lnTo>
                  <a:lnTo>
                    <a:pt x="154" y="560"/>
                  </a:lnTo>
                  <a:lnTo>
                    <a:pt x="154" y="563"/>
                  </a:lnTo>
                  <a:lnTo>
                    <a:pt x="154" y="566"/>
                  </a:lnTo>
                  <a:lnTo>
                    <a:pt x="160" y="569"/>
                  </a:lnTo>
                  <a:lnTo>
                    <a:pt x="163" y="569"/>
                  </a:lnTo>
                  <a:lnTo>
                    <a:pt x="163" y="572"/>
                  </a:lnTo>
                  <a:lnTo>
                    <a:pt x="160" y="572"/>
                  </a:lnTo>
                  <a:lnTo>
                    <a:pt x="160" y="569"/>
                  </a:lnTo>
                  <a:lnTo>
                    <a:pt x="157" y="569"/>
                  </a:lnTo>
                  <a:lnTo>
                    <a:pt x="154" y="569"/>
                  </a:lnTo>
                  <a:lnTo>
                    <a:pt x="151" y="566"/>
                  </a:lnTo>
                  <a:close/>
                  <a:moveTo>
                    <a:pt x="86" y="180"/>
                  </a:moveTo>
                  <a:lnTo>
                    <a:pt x="83" y="180"/>
                  </a:lnTo>
                  <a:lnTo>
                    <a:pt x="80" y="180"/>
                  </a:lnTo>
                  <a:lnTo>
                    <a:pt x="83" y="177"/>
                  </a:lnTo>
                  <a:lnTo>
                    <a:pt x="83" y="174"/>
                  </a:lnTo>
                  <a:lnTo>
                    <a:pt x="86" y="174"/>
                  </a:lnTo>
                  <a:lnTo>
                    <a:pt x="89" y="174"/>
                  </a:lnTo>
                  <a:lnTo>
                    <a:pt x="89" y="177"/>
                  </a:lnTo>
                  <a:lnTo>
                    <a:pt x="92" y="183"/>
                  </a:lnTo>
                  <a:lnTo>
                    <a:pt x="95" y="183"/>
                  </a:lnTo>
                  <a:lnTo>
                    <a:pt x="98" y="189"/>
                  </a:lnTo>
                  <a:lnTo>
                    <a:pt x="95" y="189"/>
                  </a:lnTo>
                  <a:lnTo>
                    <a:pt x="89" y="183"/>
                  </a:lnTo>
                  <a:lnTo>
                    <a:pt x="92" y="183"/>
                  </a:lnTo>
                  <a:lnTo>
                    <a:pt x="89" y="183"/>
                  </a:lnTo>
                  <a:lnTo>
                    <a:pt x="86" y="183"/>
                  </a:lnTo>
                  <a:lnTo>
                    <a:pt x="86" y="180"/>
                  </a:lnTo>
                  <a:close/>
                  <a:moveTo>
                    <a:pt x="198" y="572"/>
                  </a:moveTo>
                  <a:lnTo>
                    <a:pt x="195" y="569"/>
                  </a:lnTo>
                  <a:lnTo>
                    <a:pt x="198" y="569"/>
                  </a:lnTo>
                  <a:lnTo>
                    <a:pt x="201" y="566"/>
                  </a:lnTo>
                  <a:lnTo>
                    <a:pt x="201" y="563"/>
                  </a:lnTo>
                  <a:lnTo>
                    <a:pt x="204" y="563"/>
                  </a:lnTo>
                  <a:lnTo>
                    <a:pt x="207" y="563"/>
                  </a:lnTo>
                  <a:lnTo>
                    <a:pt x="207" y="566"/>
                  </a:lnTo>
                  <a:lnTo>
                    <a:pt x="204" y="566"/>
                  </a:lnTo>
                  <a:lnTo>
                    <a:pt x="204" y="569"/>
                  </a:lnTo>
                  <a:lnTo>
                    <a:pt x="204" y="566"/>
                  </a:lnTo>
                  <a:lnTo>
                    <a:pt x="201" y="569"/>
                  </a:lnTo>
                  <a:lnTo>
                    <a:pt x="204" y="572"/>
                  </a:lnTo>
                  <a:lnTo>
                    <a:pt x="201" y="572"/>
                  </a:lnTo>
                  <a:lnTo>
                    <a:pt x="204" y="572"/>
                  </a:lnTo>
                  <a:lnTo>
                    <a:pt x="204" y="575"/>
                  </a:lnTo>
                  <a:lnTo>
                    <a:pt x="207" y="575"/>
                  </a:lnTo>
                  <a:lnTo>
                    <a:pt x="207" y="578"/>
                  </a:lnTo>
                  <a:lnTo>
                    <a:pt x="210" y="578"/>
                  </a:lnTo>
                  <a:lnTo>
                    <a:pt x="210" y="581"/>
                  </a:lnTo>
                  <a:lnTo>
                    <a:pt x="207" y="581"/>
                  </a:lnTo>
                  <a:lnTo>
                    <a:pt x="207" y="584"/>
                  </a:lnTo>
                  <a:lnTo>
                    <a:pt x="204" y="584"/>
                  </a:lnTo>
                  <a:lnTo>
                    <a:pt x="204" y="587"/>
                  </a:lnTo>
                  <a:lnTo>
                    <a:pt x="201" y="587"/>
                  </a:lnTo>
                  <a:lnTo>
                    <a:pt x="201" y="578"/>
                  </a:lnTo>
                  <a:lnTo>
                    <a:pt x="198" y="575"/>
                  </a:lnTo>
                  <a:lnTo>
                    <a:pt x="198" y="572"/>
                  </a:lnTo>
                  <a:close/>
                  <a:moveTo>
                    <a:pt x="183" y="599"/>
                  </a:moveTo>
                  <a:lnTo>
                    <a:pt x="180" y="596"/>
                  </a:lnTo>
                  <a:lnTo>
                    <a:pt x="180" y="593"/>
                  </a:lnTo>
                  <a:lnTo>
                    <a:pt x="183" y="593"/>
                  </a:lnTo>
                  <a:lnTo>
                    <a:pt x="183" y="590"/>
                  </a:lnTo>
                  <a:lnTo>
                    <a:pt x="183" y="587"/>
                  </a:lnTo>
                  <a:lnTo>
                    <a:pt x="186" y="587"/>
                  </a:lnTo>
                  <a:lnTo>
                    <a:pt x="189" y="587"/>
                  </a:lnTo>
                  <a:lnTo>
                    <a:pt x="192" y="587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5" y="593"/>
                  </a:lnTo>
                  <a:lnTo>
                    <a:pt x="198" y="593"/>
                  </a:lnTo>
                  <a:lnTo>
                    <a:pt x="201" y="593"/>
                  </a:lnTo>
                  <a:lnTo>
                    <a:pt x="201" y="599"/>
                  </a:lnTo>
                  <a:lnTo>
                    <a:pt x="201" y="602"/>
                  </a:lnTo>
                  <a:lnTo>
                    <a:pt x="198" y="599"/>
                  </a:lnTo>
                  <a:lnTo>
                    <a:pt x="195" y="599"/>
                  </a:lnTo>
                  <a:lnTo>
                    <a:pt x="192" y="602"/>
                  </a:lnTo>
                  <a:lnTo>
                    <a:pt x="189" y="602"/>
                  </a:lnTo>
                  <a:lnTo>
                    <a:pt x="186" y="599"/>
                  </a:lnTo>
                  <a:lnTo>
                    <a:pt x="189" y="596"/>
                  </a:lnTo>
                  <a:lnTo>
                    <a:pt x="186" y="596"/>
                  </a:lnTo>
                  <a:lnTo>
                    <a:pt x="183" y="599"/>
                  </a:lnTo>
                  <a:close/>
                  <a:moveTo>
                    <a:pt x="231" y="658"/>
                  </a:moveTo>
                  <a:lnTo>
                    <a:pt x="228" y="655"/>
                  </a:lnTo>
                  <a:lnTo>
                    <a:pt x="231" y="655"/>
                  </a:lnTo>
                  <a:lnTo>
                    <a:pt x="228" y="649"/>
                  </a:lnTo>
                  <a:lnTo>
                    <a:pt x="231" y="649"/>
                  </a:lnTo>
                  <a:lnTo>
                    <a:pt x="233" y="649"/>
                  </a:lnTo>
                  <a:lnTo>
                    <a:pt x="233" y="646"/>
                  </a:lnTo>
                  <a:lnTo>
                    <a:pt x="236" y="646"/>
                  </a:lnTo>
                  <a:lnTo>
                    <a:pt x="239" y="646"/>
                  </a:lnTo>
                  <a:lnTo>
                    <a:pt x="236" y="646"/>
                  </a:lnTo>
                  <a:lnTo>
                    <a:pt x="236" y="643"/>
                  </a:lnTo>
                  <a:lnTo>
                    <a:pt x="236" y="640"/>
                  </a:lnTo>
                  <a:lnTo>
                    <a:pt x="236" y="643"/>
                  </a:lnTo>
                  <a:lnTo>
                    <a:pt x="239" y="646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42" y="652"/>
                  </a:lnTo>
                  <a:lnTo>
                    <a:pt x="239" y="655"/>
                  </a:lnTo>
                  <a:lnTo>
                    <a:pt x="236" y="658"/>
                  </a:lnTo>
                  <a:lnTo>
                    <a:pt x="236" y="661"/>
                  </a:lnTo>
                  <a:lnTo>
                    <a:pt x="233" y="661"/>
                  </a:lnTo>
                  <a:lnTo>
                    <a:pt x="231" y="661"/>
                  </a:lnTo>
                  <a:lnTo>
                    <a:pt x="231" y="658"/>
                  </a:lnTo>
                  <a:close/>
                  <a:moveTo>
                    <a:pt x="27" y="324"/>
                  </a:moveTo>
                  <a:lnTo>
                    <a:pt x="27" y="318"/>
                  </a:lnTo>
                  <a:lnTo>
                    <a:pt x="27" y="315"/>
                  </a:lnTo>
                  <a:lnTo>
                    <a:pt x="30" y="315"/>
                  </a:lnTo>
                  <a:lnTo>
                    <a:pt x="33" y="310"/>
                  </a:lnTo>
                  <a:lnTo>
                    <a:pt x="36" y="310"/>
                  </a:lnTo>
                  <a:lnTo>
                    <a:pt x="36" y="307"/>
                  </a:lnTo>
                  <a:lnTo>
                    <a:pt x="39" y="304"/>
                  </a:lnTo>
                  <a:lnTo>
                    <a:pt x="42" y="304"/>
                  </a:lnTo>
                  <a:lnTo>
                    <a:pt x="42" y="301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10"/>
                  </a:lnTo>
                  <a:lnTo>
                    <a:pt x="53" y="312"/>
                  </a:lnTo>
                  <a:lnTo>
                    <a:pt x="53" y="315"/>
                  </a:lnTo>
                  <a:lnTo>
                    <a:pt x="53" y="318"/>
                  </a:lnTo>
                  <a:lnTo>
                    <a:pt x="53" y="321"/>
                  </a:lnTo>
                  <a:lnTo>
                    <a:pt x="53" y="324"/>
                  </a:lnTo>
                  <a:lnTo>
                    <a:pt x="53" y="327"/>
                  </a:lnTo>
                  <a:lnTo>
                    <a:pt x="50" y="327"/>
                  </a:lnTo>
                  <a:lnTo>
                    <a:pt x="48" y="330"/>
                  </a:lnTo>
                  <a:lnTo>
                    <a:pt x="48" y="333"/>
                  </a:lnTo>
                  <a:lnTo>
                    <a:pt x="53" y="333"/>
                  </a:lnTo>
                  <a:lnTo>
                    <a:pt x="50" y="336"/>
                  </a:lnTo>
                  <a:lnTo>
                    <a:pt x="48" y="342"/>
                  </a:lnTo>
                  <a:lnTo>
                    <a:pt x="45" y="342"/>
                  </a:lnTo>
                  <a:lnTo>
                    <a:pt x="42" y="342"/>
                  </a:lnTo>
                  <a:lnTo>
                    <a:pt x="39" y="342"/>
                  </a:lnTo>
                  <a:lnTo>
                    <a:pt x="36" y="339"/>
                  </a:lnTo>
                  <a:lnTo>
                    <a:pt x="33" y="342"/>
                  </a:lnTo>
                  <a:lnTo>
                    <a:pt x="30" y="342"/>
                  </a:lnTo>
                  <a:lnTo>
                    <a:pt x="30" y="339"/>
                  </a:lnTo>
                  <a:lnTo>
                    <a:pt x="33" y="336"/>
                  </a:lnTo>
                  <a:lnTo>
                    <a:pt x="33" y="333"/>
                  </a:lnTo>
                  <a:lnTo>
                    <a:pt x="33" y="330"/>
                  </a:lnTo>
                  <a:lnTo>
                    <a:pt x="30" y="327"/>
                  </a:lnTo>
                  <a:lnTo>
                    <a:pt x="27" y="324"/>
                  </a:lnTo>
                  <a:close/>
                  <a:moveTo>
                    <a:pt x="236" y="675"/>
                  </a:moveTo>
                  <a:lnTo>
                    <a:pt x="236" y="672"/>
                  </a:lnTo>
                  <a:lnTo>
                    <a:pt x="239" y="672"/>
                  </a:lnTo>
                  <a:lnTo>
                    <a:pt x="239" y="670"/>
                  </a:lnTo>
                  <a:lnTo>
                    <a:pt x="236" y="670"/>
                  </a:lnTo>
                  <a:lnTo>
                    <a:pt x="239" y="667"/>
                  </a:lnTo>
                  <a:lnTo>
                    <a:pt x="242" y="667"/>
                  </a:lnTo>
                  <a:lnTo>
                    <a:pt x="245" y="667"/>
                  </a:lnTo>
                  <a:lnTo>
                    <a:pt x="245" y="664"/>
                  </a:lnTo>
                  <a:lnTo>
                    <a:pt x="248" y="664"/>
                  </a:lnTo>
                  <a:lnTo>
                    <a:pt x="251" y="664"/>
                  </a:lnTo>
                  <a:lnTo>
                    <a:pt x="254" y="664"/>
                  </a:lnTo>
                  <a:lnTo>
                    <a:pt x="254" y="661"/>
                  </a:lnTo>
                  <a:lnTo>
                    <a:pt x="257" y="661"/>
                  </a:lnTo>
                  <a:lnTo>
                    <a:pt x="257" y="658"/>
                  </a:lnTo>
                  <a:lnTo>
                    <a:pt x="257" y="661"/>
                  </a:lnTo>
                  <a:lnTo>
                    <a:pt x="260" y="661"/>
                  </a:lnTo>
                  <a:lnTo>
                    <a:pt x="263" y="661"/>
                  </a:lnTo>
                  <a:lnTo>
                    <a:pt x="263" y="664"/>
                  </a:lnTo>
                  <a:lnTo>
                    <a:pt x="266" y="667"/>
                  </a:lnTo>
                  <a:lnTo>
                    <a:pt x="266" y="670"/>
                  </a:lnTo>
                  <a:lnTo>
                    <a:pt x="266" y="672"/>
                  </a:lnTo>
                  <a:lnTo>
                    <a:pt x="266" y="675"/>
                  </a:lnTo>
                  <a:lnTo>
                    <a:pt x="269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2" y="684"/>
                  </a:lnTo>
                  <a:lnTo>
                    <a:pt x="275" y="684"/>
                  </a:lnTo>
                  <a:lnTo>
                    <a:pt x="275" y="687"/>
                  </a:lnTo>
                  <a:lnTo>
                    <a:pt x="272" y="687"/>
                  </a:lnTo>
                  <a:lnTo>
                    <a:pt x="272" y="690"/>
                  </a:lnTo>
                  <a:lnTo>
                    <a:pt x="272" y="693"/>
                  </a:lnTo>
                  <a:lnTo>
                    <a:pt x="272" y="696"/>
                  </a:lnTo>
                  <a:lnTo>
                    <a:pt x="269" y="696"/>
                  </a:lnTo>
                  <a:lnTo>
                    <a:pt x="272" y="699"/>
                  </a:lnTo>
                  <a:lnTo>
                    <a:pt x="272" y="702"/>
                  </a:lnTo>
                  <a:lnTo>
                    <a:pt x="272" y="705"/>
                  </a:lnTo>
                  <a:lnTo>
                    <a:pt x="269" y="702"/>
                  </a:lnTo>
                  <a:lnTo>
                    <a:pt x="266" y="702"/>
                  </a:lnTo>
                  <a:lnTo>
                    <a:pt x="266" y="705"/>
                  </a:lnTo>
                  <a:lnTo>
                    <a:pt x="266" y="708"/>
                  </a:lnTo>
                  <a:lnTo>
                    <a:pt x="263" y="708"/>
                  </a:lnTo>
                  <a:lnTo>
                    <a:pt x="260" y="708"/>
                  </a:lnTo>
                  <a:lnTo>
                    <a:pt x="260" y="705"/>
                  </a:lnTo>
                  <a:lnTo>
                    <a:pt x="263" y="705"/>
                  </a:lnTo>
                  <a:lnTo>
                    <a:pt x="260" y="705"/>
                  </a:lnTo>
                  <a:lnTo>
                    <a:pt x="257" y="702"/>
                  </a:lnTo>
                  <a:lnTo>
                    <a:pt x="260" y="699"/>
                  </a:lnTo>
                  <a:lnTo>
                    <a:pt x="257" y="699"/>
                  </a:lnTo>
                  <a:lnTo>
                    <a:pt x="257" y="696"/>
                  </a:lnTo>
                  <a:lnTo>
                    <a:pt x="254" y="696"/>
                  </a:lnTo>
                  <a:lnTo>
                    <a:pt x="254" y="693"/>
                  </a:lnTo>
                  <a:lnTo>
                    <a:pt x="251" y="693"/>
                  </a:lnTo>
                  <a:lnTo>
                    <a:pt x="251" y="690"/>
                  </a:lnTo>
                  <a:lnTo>
                    <a:pt x="248" y="687"/>
                  </a:lnTo>
                  <a:lnTo>
                    <a:pt x="245" y="687"/>
                  </a:lnTo>
                  <a:lnTo>
                    <a:pt x="242" y="687"/>
                  </a:lnTo>
                  <a:lnTo>
                    <a:pt x="242" y="684"/>
                  </a:lnTo>
                  <a:lnTo>
                    <a:pt x="239" y="684"/>
                  </a:lnTo>
                  <a:lnTo>
                    <a:pt x="239" y="681"/>
                  </a:lnTo>
                  <a:lnTo>
                    <a:pt x="236" y="681"/>
                  </a:lnTo>
                  <a:lnTo>
                    <a:pt x="239" y="678"/>
                  </a:lnTo>
                  <a:lnTo>
                    <a:pt x="236" y="678"/>
                  </a:lnTo>
                  <a:lnTo>
                    <a:pt x="236" y="675"/>
                  </a:lnTo>
                  <a:close/>
                  <a:moveTo>
                    <a:pt x="33" y="203"/>
                  </a:moveTo>
                  <a:lnTo>
                    <a:pt x="33" y="200"/>
                  </a:lnTo>
                  <a:lnTo>
                    <a:pt x="33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1"/>
                  </a:lnTo>
                  <a:lnTo>
                    <a:pt x="42" y="194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2" y="186"/>
                  </a:lnTo>
                  <a:lnTo>
                    <a:pt x="42" y="183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2" y="171"/>
                  </a:lnTo>
                  <a:lnTo>
                    <a:pt x="45" y="165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50" y="156"/>
                  </a:lnTo>
                  <a:lnTo>
                    <a:pt x="50" y="150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5" y="130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2" y="118"/>
                  </a:lnTo>
                  <a:lnTo>
                    <a:pt x="45" y="118"/>
                  </a:lnTo>
                  <a:lnTo>
                    <a:pt x="48" y="118"/>
                  </a:lnTo>
                  <a:lnTo>
                    <a:pt x="48" y="115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88"/>
                  </a:lnTo>
                  <a:lnTo>
                    <a:pt x="50" y="91"/>
                  </a:lnTo>
                  <a:lnTo>
                    <a:pt x="53" y="88"/>
                  </a:lnTo>
                  <a:lnTo>
                    <a:pt x="53" y="85"/>
                  </a:lnTo>
                  <a:lnTo>
                    <a:pt x="50" y="82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3" y="76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50" y="65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56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3" y="50"/>
                  </a:lnTo>
                  <a:lnTo>
                    <a:pt x="53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5"/>
                  </a:lnTo>
                  <a:lnTo>
                    <a:pt x="53" y="35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29"/>
                  </a:lnTo>
                  <a:lnTo>
                    <a:pt x="56" y="29"/>
                  </a:lnTo>
                  <a:lnTo>
                    <a:pt x="56" y="26"/>
                  </a:lnTo>
                  <a:lnTo>
                    <a:pt x="53" y="26"/>
                  </a:lnTo>
                  <a:lnTo>
                    <a:pt x="53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4" y="14"/>
                  </a:lnTo>
                  <a:lnTo>
                    <a:pt x="74" y="20"/>
                  </a:lnTo>
                  <a:lnTo>
                    <a:pt x="71" y="23"/>
                  </a:lnTo>
                  <a:lnTo>
                    <a:pt x="74" y="26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4"/>
                  </a:lnTo>
                  <a:lnTo>
                    <a:pt x="80" y="44"/>
                  </a:lnTo>
                  <a:lnTo>
                    <a:pt x="77" y="47"/>
                  </a:lnTo>
                  <a:lnTo>
                    <a:pt x="77" y="53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7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71" y="70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2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62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9" y="85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65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5"/>
                  </a:lnTo>
                  <a:lnTo>
                    <a:pt x="68" y="85"/>
                  </a:lnTo>
                  <a:lnTo>
                    <a:pt x="71" y="88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100"/>
                  </a:lnTo>
                  <a:lnTo>
                    <a:pt x="74" y="103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1"/>
                  </a:lnTo>
                  <a:lnTo>
                    <a:pt x="77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74" y="130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4" y="132"/>
                  </a:lnTo>
                  <a:lnTo>
                    <a:pt x="74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7"/>
                  </a:lnTo>
                  <a:lnTo>
                    <a:pt x="68" y="147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1" y="153"/>
                  </a:lnTo>
                  <a:lnTo>
                    <a:pt x="68" y="153"/>
                  </a:lnTo>
                  <a:lnTo>
                    <a:pt x="71" y="156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8" y="162"/>
                  </a:lnTo>
                  <a:lnTo>
                    <a:pt x="65" y="162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5" y="168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62" y="177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77"/>
                  </a:lnTo>
                  <a:lnTo>
                    <a:pt x="56" y="177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7"/>
                  </a:lnTo>
                  <a:lnTo>
                    <a:pt x="65" y="203"/>
                  </a:lnTo>
                  <a:lnTo>
                    <a:pt x="65" y="206"/>
                  </a:lnTo>
                  <a:lnTo>
                    <a:pt x="62" y="212"/>
                  </a:lnTo>
                  <a:lnTo>
                    <a:pt x="65" y="212"/>
                  </a:lnTo>
                  <a:lnTo>
                    <a:pt x="62" y="212"/>
                  </a:lnTo>
                  <a:lnTo>
                    <a:pt x="62" y="215"/>
                  </a:lnTo>
                  <a:lnTo>
                    <a:pt x="65" y="218"/>
                  </a:lnTo>
                  <a:lnTo>
                    <a:pt x="65" y="221"/>
                  </a:lnTo>
                  <a:lnTo>
                    <a:pt x="62" y="224"/>
                  </a:lnTo>
                  <a:lnTo>
                    <a:pt x="65" y="224"/>
                  </a:lnTo>
                  <a:lnTo>
                    <a:pt x="62" y="227"/>
                  </a:lnTo>
                  <a:lnTo>
                    <a:pt x="62" y="230"/>
                  </a:lnTo>
                  <a:lnTo>
                    <a:pt x="62" y="233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6" y="233"/>
                  </a:lnTo>
                  <a:lnTo>
                    <a:pt x="56" y="236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0" y="227"/>
                  </a:lnTo>
                  <a:lnTo>
                    <a:pt x="50" y="230"/>
                  </a:lnTo>
                  <a:lnTo>
                    <a:pt x="50" y="227"/>
                  </a:lnTo>
                  <a:lnTo>
                    <a:pt x="48" y="227"/>
                  </a:lnTo>
                  <a:lnTo>
                    <a:pt x="48" y="224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21"/>
                  </a:lnTo>
                  <a:lnTo>
                    <a:pt x="48" y="221"/>
                  </a:lnTo>
                  <a:lnTo>
                    <a:pt x="45" y="218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39" y="215"/>
                  </a:lnTo>
                  <a:lnTo>
                    <a:pt x="39" y="212"/>
                  </a:lnTo>
                  <a:lnTo>
                    <a:pt x="39" y="209"/>
                  </a:lnTo>
                  <a:lnTo>
                    <a:pt x="39" y="206"/>
                  </a:lnTo>
                  <a:lnTo>
                    <a:pt x="39" y="203"/>
                  </a:lnTo>
                  <a:lnTo>
                    <a:pt x="36" y="203"/>
                  </a:lnTo>
                  <a:lnTo>
                    <a:pt x="33" y="2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3" name="Freeform 134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82847" y="1563298"/>
              <a:ext cx="110206" cy="96901"/>
            </a:xfrm>
            <a:custGeom>
              <a:avLst/>
              <a:gdLst>
                <a:gd name="T0" fmla="*/ 18 w 667"/>
                <a:gd name="T1" fmla="*/ 495 h 546"/>
                <a:gd name="T2" fmla="*/ 65 w 667"/>
                <a:gd name="T3" fmla="*/ 460 h 546"/>
                <a:gd name="T4" fmla="*/ 89 w 667"/>
                <a:gd name="T5" fmla="*/ 427 h 546"/>
                <a:gd name="T6" fmla="*/ 86 w 667"/>
                <a:gd name="T7" fmla="*/ 392 h 546"/>
                <a:gd name="T8" fmla="*/ 86 w 667"/>
                <a:gd name="T9" fmla="*/ 365 h 546"/>
                <a:gd name="T10" fmla="*/ 74 w 667"/>
                <a:gd name="T11" fmla="*/ 333 h 546"/>
                <a:gd name="T12" fmla="*/ 50 w 667"/>
                <a:gd name="T13" fmla="*/ 301 h 546"/>
                <a:gd name="T14" fmla="*/ 80 w 667"/>
                <a:gd name="T15" fmla="*/ 298 h 546"/>
                <a:gd name="T16" fmla="*/ 118 w 667"/>
                <a:gd name="T17" fmla="*/ 309 h 546"/>
                <a:gd name="T18" fmla="*/ 145 w 667"/>
                <a:gd name="T19" fmla="*/ 312 h 546"/>
                <a:gd name="T20" fmla="*/ 109 w 667"/>
                <a:gd name="T21" fmla="*/ 283 h 546"/>
                <a:gd name="T22" fmla="*/ 109 w 667"/>
                <a:gd name="T23" fmla="*/ 242 h 546"/>
                <a:gd name="T24" fmla="*/ 115 w 667"/>
                <a:gd name="T25" fmla="*/ 203 h 546"/>
                <a:gd name="T26" fmla="*/ 157 w 667"/>
                <a:gd name="T27" fmla="*/ 168 h 546"/>
                <a:gd name="T28" fmla="*/ 198 w 667"/>
                <a:gd name="T29" fmla="*/ 159 h 546"/>
                <a:gd name="T30" fmla="*/ 213 w 667"/>
                <a:gd name="T31" fmla="*/ 135 h 546"/>
                <a:gd name="T32" fmla="*/ 236 w 667"/>
                <a:gd name="T33" fmla="*/ 82 h 546"/>
                <a:gd name="T34" fmla="*/ 269 w 667"/>
                <a:gd name="T35" fmla="*/ 35 h 546"/>
                <a:gd name="T36" fmla="*/ 292 w 667"/>
                <a:gd name="T37" fmla="*/ 17 h 546"/>
                <a:gd name="T38" fmla="*/ 354 w 667"/>
                <a:gd name="T39" fmla="*/ 20 h 546"/>
                <a:gd name="T40" fmla="*/ 399 w 667"/>
                <a:gd name="T41" fmla="*/ 29 h 546"/>
                <a:gd name="T42" fmla="*/ 413 w 667"/>
                <a:gd name="T43" fmla="*/ 59 h 546"/>
                <a:gd name="T44" fmla="*/ 472 w 667"/>
                <a:gd name="T45" fmla="*/ 53 h 546"/>
                <a:gd name="T46" fmla="*/ 499 w 667"/>
                <a:gd name="T47" fmla="*/ 53 h 546"/>
                <a:gd name="T48" fmla="*/ 496 w 667"/>
                <a:gd name="T49" fmla="*/ 11 h 546"/>
                <a:gd name="T50" fmla="*/ 523 w 667"/>
                <a:gd name="T51" fmla="*/ 8 h 546"/>
                <a:gd name="T52" fmla="*/ 570 w 667"/>
                <a:gd name="T53" fmla="*/ 32 h 546"/>
                <a:gd name="T54" fmla="*/ 611 w 667"/>
                <a:gd name="T55" fmla="*/ 50 h 546"/>
                <a:gd name="T56" fmla="*/ 623 w 667"/>
                <a:gd name="T57" fmla="*/ 64 h 546"/>
                <a:gd name="T58" fmla="*/ 652 w 667"/>
                <a:gd name="T59" fmla="*/ 73 h 546"/>
                <a:gd name="T60" fmla="*/ 652 w 667"/>
                <a:gd name="T61" fmla="*/ 106 h 546"/>
                <a:gd name="T62" fmla="*/ 605 w 667"/>
                <a:gd name="T63" fmla="*/ 174 h 546"/>
                <a:gd name="T64" fmla="*/ 614 w 667"/>
                <a:gd name="T65" fmla="*/ 197 h 546"/>
                <a:gd name="T66" fmla="*/ 602 w 667"/>
                <a:gd name="T67" fmla="*/ 221 h 546"/>
                <a:gd name="T68" fmla="*/ 605 w 667"/>
                <a:gd name="T69" fmla="*/ 242 h 546"/>
                <a:gd name="T70" fmla="*/ 582 w 667"/>
                <a:gd name="T71" fmla="*/ 256 h 546"/>
                <a:gd name="T72" fmla="*/ 576 w 667"/>
                <a:gd name="T73" fmla="*/ 262 h 546"/>
                <a:gd name="T74" fmla="*/ 564 w 667"/>
                <a:gd name="T75" fmla="*/ 283 h 546"/>
                <a:gd name="T76" fmla="*/ 543 w 667"/>
                <a:gd name="T77" fmla="*/ 295 h 546"/>
                <a:gd name="T78" fmla="*/ 469 w 667"/>
                <a:gd name="T79" fmla="*/ 318 h 546"/>
                <a:gd name="T80" fmla="*/ 396 w 667"/>
                <a:gd name="T81" fmla="*/ 365 h 546"/>
                <a:gd name="T82" fmla="*/ 363 w 667"/>
                <a:gd name="T83" fmla="*/ 386 h 546"/>
                <a:gd name="T84" fmla="*/ 348 w 667"/>
                <a:gd name="T85" fmla="*/ 398 h 546"/>
                <a:gd name="T86" fmla="*/ 316 w 667"/>
                <a:gd name="T87" fmla="*/ 427 h 546"/>
                <a:gd name="T88" fmla="*/ 272 w 667"/>
                <a:gd name="T89" fmla="*/ 407 h 546"/>
                <a:gd name="T90" fmla="*/ 254 w 667"/>
                <a:gd name="T91" fmla="*/ 398 h 546"/>
                <a:gd name="T92" fmla="*/ 227 w 667"/>
                <a:gd name="T93" fmla="*/ 410 h 546"/>
                <a:gd name="T94" fmla="*/ 224 w 667"/>
                <a:gd name="T95" fmla="*/ 425 h 546"/>
                <a:gd name="T96" fmla="*/ 186 w 667"/>
                <a:gd name="T97" fmla="*/ 442 h 546"/>
                <a:gd name="T98" fmla="*/ 183 w 667"/>
                <a:gd name="T99" fmla="*/ 466 h 546"/>
                <a:gd name="T100" fmla="*/ 168 w 667"/>
                <a:gd name="T101" fmla="*/ 472 h 546"/>
                <a:gd name="T102" fmla="*/ 133 w 667"/>
                <a:gd name="T103" fmla="*/ 489 h 546"/>
                <a:gd name="T104" fmla="*/ 121 w 667"/>
                <a:gd name="T105" fmla="*/ 460 h 546"/>
                <a:gd name="T106" fmla="*/ 106 w 667"/>
                <a:gd name="T107" fmla="*/ 492 h 546"/>
                <a:gd name="T108" fmla="*/ 98 w 667"/>
                <a:gd name="T109" fmla="*/ 522 h 546"/>
                <a:gd name="T110" fmla="*/ 56 w 667"/>
                <a:gd name="T111" fmla="*/ 531 h 546"/>
                <a:gd name="T112" fmla="*/ 21 w 667"/>
                <a:gd name="T113" fmla="*/ 543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7"/>
                <a:gd name="T172" fmla="*/ 0 h 546"/>
                <a:gd name="T173" fmla="*/ 667 w 667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7" h="546">
                  <a:moveTo>
                    <a:pt x="0" y="543"/>
                  </a:moveTo>
                  <a:lnTo>
                    <a:pt x="3" y="537"/>
                  </a:lnTo>
                  <a:lnTo>
                    <a:pt x="9" y="534"/>
                  </a:lnTo>
                  <a:lnTo>
                    <a:pt x="12" y="525"/>
                  </a:lnTo>
                  <a:lnTo>
                    <a:pt x="15" y="516"/>
                  </a:lnTo>
                  <a:lnTo>
                    <a:pt x="15" y="513"/>
                  </a:lnTo>
                  <a:lnTo>
                    <a:pt x="15" y="501"/>
                  </a:lnTo>
                  <a:lnTo>
                    <a:pt x="18" y="495"/>
                  </a:lnTo>
                  <a:lnTo>
                    <a:pt x="24" y="492"/>
                  </a:lnTo>
                  <a:lnTo>
                    <a:pt x="27" y="489"/>
                  </a:lnTo>
                  <a:lnTo>
                    <a:pt x="33" y="484"/>
                  </a:lnTo>
                  <a:lnTo>
                    <a:pt x="41" y="478"/>
                  </a:lnTo>
                  <a:lnTo>
                    <a:pt x="41" y="475"/>
                  </a:lnTo>
                  <a:lnTo>
                    <a:pt x="50" y="469"/>
                  </a:lnTo>
                  <a:lnTo>
                    <a:pt x="56" y="463"/>
                  </a:lnTo>
                  <a:lnTo>
                    <a:pt x="65" y="460"/>
                  </a:lnTo>
                  <a:lnTo>
                    <a:pt x="65" y="454"/>
                  </a:lnTo>
                  <a:lnTo>
                    <a:pt x="59" y="451"/>
                  </a:lnTo>
                  <a:lnTo>
                    <a:pt x="62" y="448"/>
                  </a:lnTo>
                  <a:lnTo>
                    <a:pt x="68" y="442"/>
                  </a:lnTo>
                  <a:lnTo>
                    <a:pt x="71" y="442"/>
                  </a:lnTo>
                  <a:lnTo>
                    <a:pt x="77" y="439"/>
                  </a:lnTo>
                  <a:lnTo>
                    <a:pt x="80" y="436"/>
                  </a:lnTo>
                  <a:lnTo>
                    <a:pt x="89" y="427"/>
                  </a:lnTo>
                  <a:lnTo>
                    <a:pt x="92" y="422"/>
                  </a:lnTo>
                  <a:lnTo>
                    <a:pt x="95" y="422"/>
                  </a:lnTo>
                  <a:lnTo>
                    <a:pt x="98" y="419"/>
                  </a:lnTo>
                  <a:lnTo>
                    <a:pt x="95" y="413"/>
                  </a:lnTo>
                  <a:lnTo>
                    <a:pt x="95" y="404"/>
                  </a:lnTo>
                  <a:lnTo>
                    <a:pt x="92" y="401"/>
                  </a:lnTo>
                  <a:lnTo>
                    <a:pt x="86" y="398"/>
                  </a:lnTo>
                  <a:lnTo>
                    <a:pt x="86" y="392"/>
                  </a:lnTo>
                  <a:lnTo>
                    <a:pt x="86" y="389"/>
                  </a:lnTo>
                  <a:lnTo>
                    <a:pt x="86" y="383"/>
                  </a:lnTo>
                  <a:lnTo>
                    <a:pt x="86" y="380"/>
                  </a:lnTo>
                  <a:lnTo>
                    <a:pt x="89" y="377"/>
                  </a:lnTo>
                  <a:lnTo>
                    <a:pt x="83" y="371"/>
                  </a:lnTo>
                  <a:lnTo>
                    <a:pt x="86" y="368"/>
                  </a:lnTo>
                  <a:lnTo>
                    <a:pt x="89" y="365"/>
                  </a:lnTo>
                  <a:lnTo>
                    <a:pt x="86" y="365"/>
                  </a:lnTo>
                  <a:lnTo>
                    <a:pt x="80" y="363"/>
                  </a:lnTo>
                  <a:lnTo>
                    <a:pt x="77" y="357"/>
                  </a:lnTo>
                  <a:lnTo>
                    <a:pt x="71" y="357"/>
                  </a:lnTo>
                  <a:lnTo>
                    <a:pt x="71" y="354"/>
                  </a:lnTo>
                  <a:lnTo>
                    <a:pt x="71" y="348"/>
                  </a:lnTo>
                  <a:lnTo>
                    <a:pt x="71" y="345"/>
                  </a:lnTo>
                  <a:lnTo>
                    <a:pt x="74" y="339"/>
                  </a:lnTo>
                  <a:lnTo>
                    <a:pt x="74" y="333"/>
                  </a:lnTo>
                  <a:lnTo>
                    <a:pt x="71" y="324"/>
                  </a:lnTo>
                  <a:lnTo>
                    <a:pt x="68" y="321"/>
                  </a:lnTo>
                  <a:lnTo>
                    <a:pt x="62" y="321"/>
                  </a:lnTo>
                  <a:lnTo>
                    <a:pt x="59" y="315"/>
                  </a:lnTo>
                  <a:lnTo>
                    <a:pt x="56" y="315"/>
                  </a:lnTo>
                  <a:lnTo>
                    <a:pt x="53" y="312"/>
                  </a:lnTo>
                  <a:lnTo>
                    <a:pt x="47" y="306"/>
                  </a:lnTo>
                  <a:lnTo>
                    <a:pt x="50" y="301"/>
                  </a:lnTo>
                  <a:lnTo>
                    <a:pt x="50" y="298"/>
                  </a:lnTo>
                  <a:lnTo>
                    <a:pt x="53" y="292"/>
                  </a:lnTo>
                  <a:lnTo>
                    <a:pt x="56" y="292"/>
                  </a:lnTo>
                  <a:lnTo>
                    <a:pt x="65" y="292"/>
                  </a:lnTo>
                  <a:lnTo>
                    <a:pt x="68" y="298"/>
                  </a:lnTo>
                  <a:lnTo>
                    <a:pt x="71" y="298"/>
                  </a:lnTo>
                  <a:lnTo>
                    <a:pt x="74" y="298"/>
                  </a:lnTo>
                  <a:lnTo>
                    <a:pt x="80" y="298"/>
                  </a:lnTo>
                  <a:lnTo>
                    <a:pt x="83" y="301"/>
                  </a:lnTo>
                  <a:lnTo>
                    <a:pt x="89" y="301"/>
                  </a:lnTo>
                  <a:lnTo>
                    <a:pt x="92" y="301"/>
                  </a:lnTo>
                  <a:lnTo>
                    <a:pt x="98" y="304"/>
                  </a:lnTo>
                  <a:lnTo>
                    <a:pt x="98" y="309"/>
                  </a:lnTo>
                  <a:lnTo>
                    <a:pt x="100" y="315"/>
                  </a:lnTo>
                  <a:lnTo>
                    <a:pt x="106" y="315"/>
                  </a:lnTo>
                  <a:lnTo>
                    <a:pt x="118" y="309"/>
                  </a:lnTo>
                  <a:lnTo>
                    <a:pt x="124" y="309"/>
                  </a:lnTo>
                  <a:lnTo>
                    <a:pt x="130" y="312"/>
                  </a:lnTo>
                  <a:lnTo>
                    <a:pt x="127" y="315"/>
                  </a:lnTo>
                  <a:lnTo>
                    <a:pt x="127" y="318"/>
                  </a:lnTo>
                  <a:lnTo>
                    <a:pt x="133" y="324"/>
                  </a:lnTo>
                  <a:lnTo>
                    <a:pt x="136" y="324"/>
                  </a:lnTo>
                  <a:lnTo>
                    <a:pt x="145" y="318"/>
                  </a:lnTo>
                  <a:lnTo>
                    <a:pt x="145" y="312"/>
                  </a:lnTo>
                  <a:lnTo>
                    <a:pt x="142" y="306"/>
                  </a:lnTo>
                  <a:lnTo>
                    <a:pt x="142" y="301"/>
                  </a:lnTo>
                  <a:lnTo>
                    <a:pt x="136" y="298"/>
                  </a:lnTo>
                  <a:lnTo>
                    <a:pt x="130" y="298"/>
                  </a:lnTo>
                  <a:lnTo>
                    <a:pt x="121" y="298"/>
                  </a:lnTo>
                  <a:lnTo>
                    <a:pt x="118" y="298"/>
                  </a:lnTo>
                  <a:lnTo>
                    <a:pt x="109" y="292"/>
                  </a:lnTo>
                  <a:lnTo>
                    <a:pt x="109" y="283"/>
                  </a:lnTo>
                  <a:lnTo>
                    <a:pt x="109" y="280"/>
                  </a:lnTo>
                  <a:lnTo>
                    <a:pt x="112" y="271"/>
                  </a:lnTo>
                  <a:lnTo>
                    <a:pt x="112" y="265"/>
                  </a:lnTo>
                  <a:lnTo>
                    <a:pt x="112" y="262"/>
                  </a:lnTo>
                  <a:lnTo>
                    <a:pt x="112" y="256"/>
                  </a:lnTo>
                  <a:lnTo>
                    <a:pt x="115" y="253"/>
                  </a:lnTo>
                  <a:lnTo>
                    <a:pt x="112" y="247"/>
                  </a:lnTo>
                  <a:lnTo>
                    <a:pt x="109" y="242"/>
                  </a:lnTo>
                  <a:lnTo>
                    <a:pt x="106" y="233"/>
                  </a:lnTo>
                  <a:lnTo>
                    <a:pt x="106" y="224"/>
                  </a:lnTo>
                  <a:lnTo>
                    <a:pt x="103" y="215"/>
                  </a:lnTo>
                  <a:lnTo>
                    <a:pt x="100" y="206"/>
                  </a:lnTo>
                  <a:lnTo>
                    <a:pt x="100" y="200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5" y="203"/>
                  </a:lnTo>
                  <a:lnTo>
                    <a:pt x="121" y="197"/>
                  </a:lnTo>
                  <a:lnTo>
                    <a:pt x="124" y="191"/>
                  </a:lnTo>
                  <a:lnTo>
                    <a:pt x="130" y="171"/>
                  </a:lnTo>
                  <a:lnTo>
                    <a:pt x="136" y="168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54" y="168"/>
                  </a:lnTo>
                  <a:lnTo>
                    <a:pt x="157" y="168"/>
                  </a:lnTo>
                  <a:lnTo>
                    <a:pt x="165" y="165"/>
                  </a:lnTo>
                  <a:lnTo>
                    <a:pt x="168" y="165"/>
                  </a:lnTo>
                  <a:lnTo>
                    <a:pt x="171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92" y="171"/>
                  </a:lnTo>
                  <a:lnTo>
                    <a:pt x="195" y="165"/>
                  </a:lnTo>
                  <a:lnTo>
                    <a:pt x="198" y="159"/>
                  </a:lnTo>
                  <a:lnTo>
                    <a:pt x="201" y="156"/>
                  </a:lnTo>
                  <a:lnTo>
                    <a:pt x="201" y="153"/>
                  </a:lnTo>
                  <a:lnTo>
                    <a:pt x="204" y="147"/>
                  </a:lnTo>
                  <a:lnTo>
                    <a:pt x="207" y="147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16" y="141"/>
                  </a:lnTo>
                  <a:lnTo>
                    <a:pt x="213" y="135"/>
                  </a:lnTo>
                  <a:lnTo>
                    <a:pt x="213" y="129"/>
                  </a:lnTo>
                  <a:lnTo>
                    <a:pt x="213" y="124"/>
                  </a:lnTo>
                  <a:lnTo>
                    <a:pt x="216" y="118"/>
                  </a:lnTo>
                  <a:lnTo>
                    <a:pt x="221" y="106"/>
                  </a:lnTo>
                  <a:lnTo>
                    <a:pt x="230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6" y="82"/>
                  </a:lnTo>
                  <a:lnTo>
                    <a:pt x="233" y="73"/>
                  </a:lnTo>
                  <a:lnTo>
                    <a:pt x="236" y="67"/>
                  </a:lnTo>
                  <a:lnTo>
                    <a:pt x="236" y="62"/>
                  </a:lnTo>
                  <a:lnTo>
                    <a:pt x="239" y="53"/>
                  </a:lnTo>
                  <a:lnTo>
                    <a:pt x="245" y="47"/>
                  </a:lnTo>
                  <a:lnTo>
                    <a:pt x="254" y="44"/>
                  </a:lnTo>
                  <a:lnTo>
                    <a:pt x="263" y="38"/>
                  </a:lnTo>
                  <a:lnTo>
                    <a:pt x="269" y="35"/>
                  </a:lnTo>
                  <a:lnTo>
                    <a:pt x="281" y="32"/>
                  </a:lnTo>
                  <a:lnTo>
                    <a:pt x="286" y="29"/>
                  </a:lnTo>
                  <a:lnTo>
                    <a:pt x="286" y="17"/>
                  </a:lnTo>
                  <a:lnTo>
                    <a:pt x="283" y="14"/>
                  </a:lnTo>
                  <a:lnTo>
                    <a:pt x="278" y="14"/>
                  </a:lnTo>
                  <a:lnTo>
                    <a:pt x="278" y="11"/>
                  </a:lnTo>
                  <a:lnTo>
                    <a:pt x="286" y="14"/>
                  </a:lnTo>
                  <a:lnTo>
                    <a:pt x="292" y="17"/>
                  </a:lnTo>
                  <a:lnTo>
                    <a:pt x="295" y="20"/>
                  </a:lnTo>
                  <a:lnTo>
                    <a:pt x="298" y="23"/>
                  </a:lnTo>
                  <a:lnTo>
                    <a:pt x="310" y="29"/>
                  </a:lnTo>
                  <a:lnTo>
                    <a:pt x="322" y="29"/>
                  </a:lnTo>
                  <a:lnTo>
                    <a:pt x="331" y="26"/>
                  </a:lnTo>
                  <a:lnTo>
                    <a:pt x="337" y="23"/>
                  </a:lnTo>
                  <a:lnTo>
                    <a:pt x="342" y="20"/>
                  </a:lnTo>
                  <a:lnTo>
                    <a:pt x="354" y="20"/>
                  </a:lnTo>
                  <a:lnTo>
                    <a:pt x="363" y="20"/>
                  </a:lnTo>
                  <a:lnTo>
                    <a:pt x="369" y="17"/>
                  </a:lnTo>
                  <a:lnTo>
                    <a:pt x="378" y="17"/>
                  </a:lnTo>
                  <a:lnTo>
                    <a:pt x="384" y="14"/>
                  </a:lnTo>
                  <a:lnTo>
                    <a:pt x="390" y="14"/>
                  </a:lnTo>
                  <a:lnTo>
                    <a:pt x="396" y="11"/>
                  </a:lnTo>
                  <a:lnTo>
                    <a:pt x="399" y="23"/>
                  </a:lnTo>
                  <a:lnTo>
                    <a:pt x="399" y="29"/>
                  </a:lnTo>
                  <a:lnTo>
                    <a:pt x="399" y="41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90" y="56"/>
                  </a:lnTo>
                  <a:lnTo>
                    <a:pt x="393" y="53"/>
                  </a:lnTo>
                  <a:lnTo>
                    <a:pt x="402" y="56"/>
                  </a:lnTo>
                  <a:lnTo>
                    <a:pt x="407" y="56"/>
                  </a:lnTo>
                  <a:lnTo>
                    <a:pt x="413" y="59"/>
                  </a:lnTo>
                  <a:lnTo>
                    <a:pt x="416" y="62"/>
                  </a:lnTo>
                  <a:lnTo>
                    <a:pt x="419" y="59"/>
                  </a:lnTo>
                  <a:lnTo>
                    <a:pt x="428" y="50"/>
                  </a:lnTo>
                  <a:lnTo>
                    <a:pt x="437" y="47"/>
                  </a:lnTo>
                  <a:lnTo>
                    <a:pt x="446" y="50"/>
                  </a:lnTo>
                  <a:lnTo>
                    <a:pt x="455" y="56"/>
                  </a:lnTo>
                  <a:lnTo>
                    <a:pt x="466" y="56"/>
                  </a:lnTo>
                  <a:lnTo>
                    <a:pt x="472" y="53"/>
                  </a:lnTo>
                  <a:lnTo>
                    <a:pt x="478" y="50"/>
                  </a:lnTo>
                  <a:lnTo>
                    <a:pt x="481" y="50"/>
                  </a:lnTo>
                  <a:lnTo>
                    <a:pt x="478" y="56"/>
                  </a:lnTo>
                  <a:lnTo>
                    <a:pt x="475" y="62"/>
                  </a:lnTo>
                  <a:lnTo>
                    <a:pt x="478" y="64"/>
                  </a:lnTo>
                  <a:lnTo>
                    <a:pt x="481" y="64"/>
                  </a:lnTo>
                  <a:lnTo>
                    <a:pt x="490" y="64"/>
                  </a:lnTo>
                  <a:lnTo>
                    <a:pt x="499" y="53"/>
                  </a:lnTo>
                  <a:lnTo>
                    <a:pt x="499" y="47"/>
                  </a:lnTo>
                  <a:lnTo>
                    <a:pt x="502" y="41"/>
                  </a:lnTo>
                  <a:lnTo>
                    <a:pt x="496" y="35"/>
                  </a:lnTo>
                  <a:lnTo>
                    <a:pt x="502" y="32"/>
                  </a:lnTo>
                  <a:lnTo>
                    <a:pt x="502" y="29"/>
                  </a:lnTo>
                  <a:lnTo>
                    <a:pt x="499" y="23"/>
                  </a:lnTo>
                  <a:lnTo>
                    <a:pt x="502" y="17"/>
                  </a:lnTo>
                  <a:lnTo>
                    <a:pt x="496" y="11"/>
                  </a:lnTo>
                  <a:lnTo>
                    <a:pt x="493" y="5"/>
                  </a:lnTo>
                  <a:lnTo>
                    <a:pt x="496" y="5"/>
                  </a:lnTo>
                  <a:lnTo>
                    <a:pt x="499" y="3"/>
                  </a:lnTo>
                  <a:lnTo>
                    <a:pt x="502" y="0"/>
                  </a:lnTo>
                  <a:lnTo>
                    <a:pt x="508" y="3"/>
                  </a:lnTo>
                  <a:lnTo>
                    <a:pt x="511" y="5"/>
                  </a:lnTo>
                  <a:lnTo>
                    <a:pt x="517" y="5"/>
                  </a:lnTo>
                  <a:lnTo>
                    <a:pt x="523" y="8"/>
                  </a:lnTo>
                  <a:lnTo>
                    <a:pt x="528" y="11"/>
                  </a:lnTo>
                  <a:lnTo>
                    <a:pt x="537" y="20"/>
                  </a:lnTo>
                  <a:lnTo>
                    <a:pt x="543" y="23"/>
                  </a:lnTo>
                  <a:lnTo>
                    <a:pt x="549" y="23"/>
                  </a:lnTo>
                  <a:lnTo>
                    <a:pt x="552" y="23"/>
                  </a:lnTo>
                  <a:lnTo>
                    <a:pt x="561" y="26"/>
                  </a:lnTo>
                  <a:lnTo>
                    <a:pt x="567" y="29"/>
                  </a:lnTo>
                  <a:lnTo>
                    <a:pt x="570" y="32"/>
                  </a:lnTo>
                  <a:lnTo>
                    <a:pt x="573" y="32"/>
                  </a:lnTo>
                  <a:lnTo>
                    <a:pt x="579" y="35"/>
                  </a:lnTo>
                  <a:lnTo>
                    <a:pt x="582" y="38"/>
                  </a:lnTo>
                  <a:lnTo>
                    <a:pt x="587" y="41"/>
                  </a:lnTo>
                  <a:lnTo>
                    <a:pt x="593" y="44"/>
                  </a:lnTo>
                  <a:lnTo>
                    <a:pt x="602" y="44"/>
                  </a:lnTo>
                  <a:lnTo>
                    <a:pt x="605" y="47"/>
                  </a:lnTo>
                  <a:lnTo>
                    <a:pt x="611" y="50"/>
                  </a:lnTo>
                  <a:lnTo>
                    <a:pt x="614" y="53"/>
                  </a:lnTo>
                  <a:lnTo>
                    <a:pt x="614" y="59"/>
                  </a:lnTo>
                  <a:lnTo>
                    <a:pt x="611" y="62"/>
                  </a:lnTo>
                  <a:lnTo>
                    <a:pt x="611" y="64"/>
                  </a:lnTo>
                  <a:lnTo>
                    <a:pt x="614" y="67"/>
                  </a:lnTo>
                  <a:lnTo>
                    <a:pt x="617" y="70"/>
                  </a:lnTo>
                  <a:lnTo>
                    <a:pt x="623" y="70"/>
                  </a:lnTo>
                  <a:lnTo>
                    <a:pt x="623" y="64"/>
                  </a:lnTo>
                  <a:lnTo>
                    <a:pt x="623" y="62"/>
                  </a:lnTo>
                  <a:lnTo>
                    <a:pt x="629" y="59"/>
                  </a:lnTo>
                  <a:lnTo>
                    <a:pt x="632" y="59"/>
                  </a:lnTo>
                  <a:lnTo>
                    <a:pt x="632" y="62"/>
                  </a:lnTo>
                  <a:lnTo>
                    <a:pt x="638" y="67"/>
                  </a:lnTo>
                  <a:lnTo>
                    <a:pt x="641" y="73"/>
                  </a:lnTo>
                  <a:lnTo>
                    <a:pt x="646" y="73"/>
                  </a:lnTo>
                  <a:lnTo>
                    <a:pt x="652" y="73"/>
                  </a:lnTo>
                  <a:lnTo>
                    <a:pt x="658" y="76"/>
                  </a:lnTo>
                  <a:lnTo>
                    <a:pt x="661" y="79"/>
                  </a:lnTo>
                  <a:lnTo>
                    <a:pt x="661" y="85"/>
                  </a:lnTo>
                  <a:lnTo>
                    <a:pt x="664" y="88"/>
                  </a:lnTo>
                  <a:lnTo>
                    <a:pt x="667" y="94"/>
                  </a:lnTo>
                  <a:lnTo>
                    <a:pt x="667" y="97"/>
                  </a:lnTo>
                  <a:lnTo>
                    <a:pt x="658" y="103"/>
                  </a:lnTo>
                  <a:lnTo>
                    <a:pt x="652" y="106"/>
                  </a:lnTo>
                  <a:lnTo>
                    <a:pt x="644" y="106"/>
                  </a:lnTo>
                  <a:lnTo>
                    <a:pt x="632" y="112"/>
                  </a:lnTo>
                  <a:lnTo>
                    <a:pt x="620" y="121"/>
                  </a:lnTo>
                  <a:lnTo>
                    <a:pt x="608" y="135"/>
                  </a:lnTo>
                  <a:lnTo>
                    <a:pt x="599" y="156"/>
                  </a:lnTo>
                  <a:lnTo>
                    <a:pt x="599" y="162"/>
                  </a:lnTo>
                  <a:lnTo>
                    <a:pt x="602" y="168"/>
                  </a:lnTo>
                  <a:lnTo>
                    <a:pt x="605" y="174"/>
                  </a:lnTo>
                  <a:lnTo>
                    <a:pt x="611" y="183"/>
                  </a:lnTo>
                  <a:lnTo>
                    <a:pt x="617" y="191"/>
                  </a:lnTo>
                  <a:lnTo>
                    <a:pt x="614" y="194"/>
                  </a:lnTo>
                  <a:lnTo>
                    <a:pt x="608" y="194"/>
                  </a:lnTo>
                  <a:lnTo>
                    <a:pt x="605" y="194"/>
                  </a:lnTo>
                  <a:lnTo>
                    <a:pt x="605" y="197"/>
                  </a:lnTo>
                  <a:lnTo>
                    <a:pt x="608" y="197"/>
                  </a:lnTo>
                  <a:lnTo>
                    <a:pt x="614" y="197"/>
                  </a:lnTo>
                  <a:lnTo>
                    <a:pt x="620" y="194"/>
                  </a:lnTo>
                  <a:lnTo>
                    <a:pt x="620" y="200"/>
                  </a:lnTo>
                  <a:lnTo>
                    <a:pt x="614" y="200"/>
                  </a:lnTo>
                  <a:lnTo>
                    <a:pt x="611" y="203"/>
                  </a:lnTo>
                  <a:lnTo>
                    <a:pt x="617" y="203"/>
                  </a:lnTo>
                  <a:lnTo>
                    <a:pt x="623" y="203"/>
                  </a:lnTo>
                  <a:lnTo>
                    <a:pt x="617" y="209"/>
                  </a:lnTo>
                  <a:lnTo>
                    <a:pt x="602" y="221"/>
                  </a:lnTo>
                  <a:lnTo>
                    <a:pt x="599" y="224"/>
                  </a:lnTo>
                  <a:lnTo>
                    <a:pt x="593" y="230"/>
                  </a:lnTo>
                  <a:lnTo>
                    <a:pt x="593" y="236"/>
                  </a:lnTo>
                  <a:lnTo>
                    <a:pt x="596" y="236"/>
                  </a:lnTo>
                  <a:lnTo>
                    <a:pt x="596" y="233"/>
                  </a:lnTo>
                  <a:lnTo>
                    <a:pt x="599" y="230"/>
                  </a:lnTo>
                  <a:lnTo>
                    <a:pt x="605" y="236"/>
                  </a:lnTo>
                  <a:lnTo>
                    <a:pt x="605" y="242"/>
                  </a:lnTo>
                  <a:lnTo>
                    <a:pt x="599" y="245"/>
                  </a:lnTo>
                  <a:lnTo>
                    <a:pt x="599" y="247"/>
                  </a:lnTo>
                  <a:lnTo>
                    <a:pt x="596" y="247"/>
                  </a:lnTo>
                  <a:lnTo>
                    <a:pt x="593" y="250"/>
                  </a:lnTo>
                  <a:lnTo>
                    <a:pt x="590" y="250"/>
                  </a:lnTo>
                  <a:lnTo>
                    <a:pt x="587" y="253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79" y="259"/>
                  </a:lnTo>
                  <a:lnTo>
                    <a:pt x="576" y="259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0" y="262"/>
                  </a:lnTo>
                  <a:lnTo>
                    <a:pt x="573" y="265"/>
                  </a:lnTo>
                  <a:lnTo>
                    <a:pt x="573" y="262"/>
                  </a:lnTo>
                  <a:lnTo>
                    <a:pt x="576" y="262"/>
                  </a:lnTo>
                  <a:lnTo>
                    <a:pt x="573" y="262"/>
                  </a:lnTo>
                  <a:lnTo>
                    <a:pt x="573" y="265"/>
                  </a:lnTo>
                  <a:lnTo>
                    <a:pt x="570" y="268"/>
                  </a:lnTo>
                  <a:lnTo>
                    <a:pt x="570" y="271"/>
                  </a:lnTo>
                  <a:lnTo>
                    <a:pt x="567" y="274"/>
                  </a:lnTo>
                  <a:lnTo>
                    <a:pt x="564" y="277"/>
                  </a:lnTo>
                  <a:lnTo>
                    <a:pt x="564" y="280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58" y="286"/>
                  </a:lnTo>
                  <a:lnTo>
                    <a:pt x="558" y="289"/>
                  </a:lnTo>
                  <a:lnTo>
                    <a:pt x="555" y="289"/>
                  </a:lnTo>
                  <a:lnTo>
                    <a:pt x="552" y="289"/>
                  </a:lnTo>
                  <a:lnTo>
                    <a:pt x="549" y="292"/>
                  </a:lnTo>
                  <a:lnTo>
                    <a:pt x="546" y="292"/>
                  </a:lnTo>
                  <a:lnTo>
                    <a:pt x="543" y="295"/>
                  </a:lnTo>
                  <a:lnTo>
                    <a:pt x="537" y="298"/>
                  </a:lnTo>
                  <a:lnTo>
                    <a:pt x="525" y="301"/>
                  </a:lnTo>
                  <a:lnTo>
                    <a:pt x="520" y="304"/>
                  </a:lnTo>
                  <a:lnTo>
                    <a:pt x="514" y="304"/>
                  </a:lnTo>
                  <a:lnTo>
                    <a:pt x="508" y="304"/>
                  </a:lnTo>
                  <a:lnTo>
                    <a:pt x="502" y="304"/>
                  </a:lnTo>
                  <a:lnTo>
                    <a:pt x="487" y="309"/>
                  </a:lnTo>
                  <a:lnTo>
                    <a:pt x="469" y="318"/>
                  </a:lnTo>
                  <a:lnTo>
                    <a:pt x="455" y="324"/>
                  </a:lnTo>
                  <a:lnTo>
                    <a:pt x="452" y="327"/>
                  </a:lnTo>
                  <a:lnTo>
                    <a:pt x="443" y="333"/>
                  </a:lnTo>
                  <a:lnTo>
                    <a:pt x="419" y="345"/>
                  </a:lnTo>
                  <a:lnTo>
                    <a:pt x="410" y="354"/>
                  </a:lnTo>
                  <a:lnTo>
                    <a:pt x="404" y="360"/>
                  </a:lnTo>
                  <a:lnTo>
                    <a:pt x="399" y="363"/>
                  </a:lnTo>
                  <a:lnTo>
                    <a:pt x="396" y="365"/>
                  </a:lnTo>
                  <a:lnTo>
                    <a:pt x="390" y="371"/>
                  </a:lnTo>
                  <a:lnTo>
                    <a:pt x="387" y="374"/>
                  </a:lnTo>
                  <a:lnTo>
                    <a:pt x="381" y="380"/>
                  </a:lnTo>
                  <a:lnTo>
                    <a:pt x="375" y="386"/>
                  </a:lnTo>
                  <a:lnTo>
                    <a:pt x="375" y="389"/>
                  </a:lnTo>
                  <a:lnTo>
                    <a:pt x="372" y="392"/>
                  </a:lnTo>
                  <a:lnTo>
                    <a:pt x="366" y="389"/>
                  </a:lnTo>
                  <a:lnTo>
                    <a:pt x="363" y="386"/>
                  </a:lnTo>
                  <a:lnTo>
                    <a:pt x="360" y="386"/>
                  </a:lnTo>
                  <a:lnTo>
                    <a:pt x="360" y="389"/>
                  </a:lnTo>
                  <a:lnTo>
                    <a:pt x="363" y="392"/>
                  </a:lnTo>
                  <a:lnTo>
                    <a:pt x="360" y="398"/>
                  </a:lnTo>
                  <a:lnTo>
                    <a:pt x="357" y="398"/>
                  </a:lnTo>
                  <a:lnTo>
                    <a:pt x="354" y="398"/>
                  </a:lnTo>
                  <a:lnTo>
                    <a:pt x="351" y="398"/>
                  </a:lnTo>
                  <a:lnTo>
                    <a:pt x="348" y="398"/>
                  </a:lnTo>
                  <a:lnTo>
                    <a:pt x="345" y="401"/>
                  </a:lnTo>
                  <a:lnTo>
                    <a:pt x="340" y="401"/>
                  </a:lnTo>
                  <a:lnTo>
                    <a:pt x="340" y="407"/>
                  </a:lnTo>
                  <a:lnTo>
                    <a:pt x="337" y="413"/>
                  </a:lnTo>
                  <a:lnTo>
                    <a:pt x="328" y="416"/>
                  </a:lnTo>
                  <a:lnTo>
                    <a:pt x="331" y="422"/>
                  </a:lnTo>
                  <a:lnTo>
                    <a:pt x="325" y="425"/>
                  </a:lnTo>
                  <a:lnTo>
                    <a:pt x="316" y="427"/>
                  </a:lnTo>
                  <a:lnTo>
                    <a:pt x="304" y="430"/>
                  </a:lnTo>
                  <a:lnTo>
                    <a:pt x="301" y="433"/>
                  </a:lnTo>
                  <a:lnTo>
                    <a:pt x="295" y="427"/>
                  </a:lnTo>
                  <a:lnTo>
                    <a:pt x="289" y="427"/>
                  </a:lnTo>
                  <a:lnTo>
                    <a:pt x="283" y="427"/>
                  </a:lnTo>
                  <a:lnTo>
                    <a:pt x="278" y="422"/>
                  </a:lnTo>
                  <a:lnTo>
                    <a:pt x="275" y="416"/>
                  </a:lnTo>
                  <a:lnTo>
                    <a:pt x="272" y="407"/>
                  </a:lnTo>
                  <a:lnTo>
                    <a:pt x="269" y="404"/>
                  </a:lnTo>
                  <a:lnTo>
                    <a:pt x="263" y="407"/>
                  </a:lnTo>
                  <a:lnTo>
                    <a:pt x="266" y="410"/>
                  </a:lnTo>
                  <a:lnTo>
                    <a:pt x="266" y="413"/>
                  </a:lnTo>
                  <a:lnTo>
                    <a:pt x="263" y="416"/>
                  </a:lnTo>
                  <a:lnTo>
                    <a:pt x="260" y="410"/>
                  </a:lnTo>
                  <a:lnTo>
                    <a:pt x="257" y="401"/>
                  </a:lnTo>
                  <a:lnTo>
                    <a:pt x="254" y="398"/>
                  </a:lnTo>
                  <a:lnTo>
                    <a:pt x="248" y="401"/>
                  </a:lnTo>
                  <a:lnTo>
                    <a:pt x="245" y="398"/>
                  </a:lnTo>
                  <a:lnTo>
                    <a:pt x="239" y="398"/>
                  </a:lnTo>
                  <a:lnTo>
                    <a:pt x="239" y="404"/>
                  </a:lnTo>
                  <a:lnTo>
                    <a:pt x="233" y="401"/>
                  </a:lnTo>
                  <a:lnTo>
                    <a:pt x="230" y="404"/>
                  </a:lnTo>
                  <a:lnTo>
                    <a:pt x="230" y="407"/>
                  </a:lnTo>
                  <a:lnTo>
                    <a:pt x="227" y="410"/>
                  </a:lnTo>
                  <a:lnTo>
                    <a:pt x="224" y="407"/>
                  </a:lnTo>
                  <a:lnTo>
                    <a:pt x="219" y="407"/>
                  </a:lnTo>
                  <a:lnTo>
                    <a:pt x="216" y="410"/>
                  </a:lnTo>
                  <a:lnTo>
                    <a:pt x="213" y="413"/>
                  </a:lnTo>
                  <a:lnTo>
                    <a:pt x="219" y="416"/>
                  </a:lnTo>
                  <a:lnTo>
                    <a:pt x="221" y="419"/>
                  </a:lnTo>
                  <a:lnTo>
                    <a:pt x="224" y="422"/>
                  </a:lnTo>
                  <a:lnTo>
                    <a:pt x="224" y="425"/>
                  </a:lnTo>
                  <a:lnTo>
                    <a:pt x="219" y="427"/>
                  </a:lnTo>
                  <a:lnTo>
                    <a:pt x="210" y="430"/>
                  </a:lnTo>
                  <a:lnTo>
                    <a:pt x="207" y="433"/>
                  </a:lnTo>
                  <a:lnTo>
                    <a:pt x="204" y="436"/>
                  </a:lnTo>
                  <a:lnTo>
                    <a:pt x="198" y="433"/>
                  </a:lnTo>
                  <a:lnTo>
                    <a:pt x="195" y="433"/>
                  </a:lnTo>
                  <a:lnTo>
                    <a:pt x="189" y="436"/>
                  </a:lnTo>
                  <a:lnTo>
                    <a:pt x="186" y="442"/>
                  </a:lnTo>
                  <a:lnTo>
                    <a:pt x="183" y="445"/>
                  </a:lnTo>
                  <a:lnTo>
                    <a:pt x="183" y="448"/>
                  </a:lnTo>
                  <a:lnTo>
                    <a:pt x="177" y="451"/>
                  </a:lnTo>
                  <a:lnTo>
                    <a:pt x="180" y="454"/>
                  </a:lnTo>
                  <a:lnTo>
                    <a:pt x="183" y="460"/>
                  </a:lnTo>
                  <a:lnTo>
                    <a:pt x="189" y="460"/>
                  </a:lnTo>
                  <a:lnTo>
                    <a:pt x="186" y="463"/>
                  </a:lnTo>
                  <a:lnTo>
                    <a:pt x="183" y="466"/>
                  </a:lnTo>
                  <a:lnTo>
                    <a:pt x="183" y="469"/>
                  </a:lnTo>
                  <a:lnTo>
                    <a:pt x="189" y="472"/>
                  </a:lnTo>
                  <a:lnTo>
                    <a:pt x="189" y="475"/>
                  </a:lnTo>
                  <a:lnTo>
                    <a:pt x="183" y="478"/>
                  </a:lnTo>
                  <a:lnTo>
                    <a:pt x="177" y="481"/>
                  </a:lnTo>
                  <a:lnTo>
                    <a:pt x="174" y="481"/>
                  </a:lnTo>
                  <a:lnTo>
                    <a:pt x="171" y="478"/>
                  </a:lnTo>
                  <a:lnTo>
                    <a:pt x="168" y="472"/>
                  </a:lnTo>
                  <a:lnTo>
                    <a:pt x="160" y="469"/>
                  </a:lnTo>
                  <a:lnTo>
                    <a:pt x="157" y="475"/>
                  </a:lnTo>
                  <a:lnTo>
                    <a:pt x="157" y="481"/>
                  </a:lnTo>
                  <a:lnTo>
                    <a:pt x="151" y="484"/>
                  </a:lnTo>
                  <a:lnTo>
                    <a:pt x="145" y="489"/>
                  </a:lnTo>
                  <a:lnTo>
                    <a:pt x="142" y="492"/>
                  </a:lnTo>
                  <a:lnTo>
                    <a:pt x="136" y="495"/>
                  </a:lnTo>
                  <a:lnTo>
                    <a:pt x="133" y="489"/>
                  </a:lnTo>
                  <a:lnTo>
                    <a:pt x="136" y="486"/>
                  </a:lnTo>
                  <a:lnTo>
                    <a:pt x="136" y="481"/>
                  </a:lnTo>
                  <a:lnTo>
                    <a:pt x="133" y="481"/>
                  </a:lnTo>
                  <a:lnTo>
                    <a:pt x="130" y="475"/>
                  </a:lnTo>
                  <a:lnTo>
                    <a:pt x="130" y="472"/>
                  </a:lnTo>
                  <a:lnTo>
                    <a:pt x="130" y="469"/>
                  </a:lnTo>
                  <a:lnTo>
                    <a:pt x="127" y="463"/>
                  </a:lnTo>
                  <a:lnTo>
                    <a:pt x="121" y="460"/>
                  </a:lnTo>
                  <a:lnTo>
                    <a:pt x="115" y="463"/>
                  </a:lnTo>
                  <a:lnTo>
                    <a:pt x="112" y="469"/>
                  </a:lnTo>
                  <a:lnTo>
                    <a:pt x="109" y="472"/>
                  </a:lnTo>
                  <a:lnTo>
                    <a:pt x="109" y="478"/>
                  </a:lnTo>
                  <a:lnTo>
                    <a:pt x="106" y="484"/>
                  </a:lnTo>
                  <a:lnTo>
                    <a:pt x="112" y="486"/>
                  </a:lnTo>
                  <a:lnTo>
                    <a:pt x="109" y="489"/>
                  </a:lnTo>
                  <a:lnTo>
                    <a:pt x="106" y="492"/>
                  </a:lnTo>
                  <a:lnTo>
                    <a:pt x="109" y="498"/>
                  </a:lnTo>
                  <a:lnTo>
                    <a:pt x="109" y="501"/>
                  </a:lnTo>
                  <a:lnTo>
                    <a:pt x="109" y="507"/>
                  </a:lnTo>
                  <a:lnTo>
                    <a:pt x="106" y="507"/>
                  </a:lnTo>
                  <a:lnTo>
                    <a:pt x="106" y="513"/>
                  </a:lnTo>
                  <a:lnTo>
                    <a:pt x="106" y="516"/>
                  </a:lnTo>
                  <a:lnTo>
                    <a:pt x="100" y="519"/>
                  </a:lnTo>
                  <a:lnTo>
                    <a:pt x="98" y="522"/>
                  </a:lnTo>
                  <a:lnTo>
                    <a:pt x="92" y="519"/>
                  </a:lnTo>
                  <a:lnTo>
                    <a:pt x="83" y="516"/>
                  </a:lnTo>
                  <a:lnTo>
                    <a:pt x="77" y="513"/>
                  </a:lnTo>
                  <a:lnTo>
                    <a:pt x="74" y="516"/>
                  </a:lnTo>
                  <a:lnTo>
                    <a:pt x="71" y="516"/>
                  </a:lnTo>
                  <a:lnTo>
                    <a:pt x="71" y="522"/>
                  </a:lnTo>
                  <a:lnTo>
                    <a:pt x="62" y="528"/>
                  </a:lnTo>
                  <a:lnTo>
                    <a:pt x="56" y="531"/>
                  </a:lnTo>
                  <a:lnTo>
                    <a:pt x="50" y="534"/>
                  </a:lnTo>
                  <a:lnTo>
                    <a:pt x="44" y="537"/>
                  </a:lnTo>
                  <a:lnTo>
                    <a:pt x="41" y="537"/>
                  </a:lnTo>
                  <a:lnTo>
                    <a:pt x="33" y="540"/>
                  </a:lnTo>
                  <a:lnTo>
                    <a:pt x="30" y="543"/>
                  </a:lnTo>
                  <a:lnTo>
                    <a:pt x="27" y="543"/>
                  </a:lnTo>
                  <a:lnTo>
                    <a:pt x="24" y="543"/>
                  </a:lnTo>
                  <a:lnTo>
                    <a:pt x="21" y="543"/>
                  </a:lnTo>
                  <a:lnTo>
                    <a:pt x="18" y="546"/>
                  </a:lnTo>
                  <a:lnTo>
                    <a:pt x="15" y="546"/>
                  </a:lnTo>
                  <a:lnTo>
                    <a:pt x="9" y="543"/>
                  </a:lnTo>
                  <a:lnTo>
                    <a:pt x="0" y="54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4" name="Freeform 135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361863" y="1534369"/>
              <a:ext cx="74187" cy="125830"/>
            </a:xfrm>
            <a:custGeom>
              <a:avLst/>
              <a:gdLst>
                <a:gd name="T0" fmla="*/ 322 w 449"/>
                <a:gd name="T1" fmla="*/ 21 h 709"/>
                <a:gd name="T2" fmla="*/ 357 w 449"/>
                <a:gd name="T3" fmla="*/ 30 h 709"/>
                <a:gd name="T4" fmla="*/ 396 w 449"/>
                <a:gd name="T5" fmla="*/ 65 h 709"/>
                <a:gd name="T6" fmla="*/ 405 w 449"/>
                <a:gd name="T7" fmla="*/ 86 h 709"/>
                <a:gd name="T8" fmla="*/ 416 w 449"/>
                <a:gd name="T9" fmla="*/ 115 h 709"/>
                <a:gd name="T10" fmla="*/ 446 w 449"/>
                <a:gd name="T11" fmla="*/ 124 h 709"/>
                <a:gd name="T12" fmla="*/ 405 w 449"/>
                <a:gd name="T13" fmla="*/ 174 h 709"/>
                <a:gd name="T14" fmla="*/ 390 w 449"/>
                <a:gd name="T15" fmla="*/ 201 h 709"/>
                <a:gd name="T16" fmla="*/ 363 w 449"/>
                <a:gd name="T17" fmla="*/ 245 h 709"/>
                <a:gd name="T18" fmla="*/ 340 w 449"/>
                <a:gd name="T19" fmla="*/ 292 h 709"/>
                <a:gd name="T20" fmla="*/ 328 w 449"/>
                <a:gd name="T21" fmla="*/ 316 h 709"/>
                <a:gd name="T22" fmla="*/ 298 w 449"/>
                <a:gd name="T23" fmla="*/ 331 h 709"/>
                <a:gd name="T24" fmla="*/ 263 w 449"/>
                <a:gd name="T25" fmla="*/ 331 h 709"/>
                <a:gd name="T26" fmla="*/ 227 w 449"/>
                <a:gd name="T27" fmla="*/ 363 h 709"/>
                <a:gd name="T28" fmla="*/ 242 w 449"/>
                <a:gd name="T29" fmla="*/ 416 h 709"/>
                <a:gd name="T30" fmla="*/ 236 w 449"/>
                <a:gd name="T31" fmla="*/ 455 h 709"/>
                <a:gd name="T32" fmla="*/ 272 w 449"/>
                <a:gd name="T33" fmla="*/ 475 h 709"/>
                <a:gd name="T34" fmla="*/ 251 w 449"/>
                <a:gd name="T35" fmla="*/ 472 h 709"/>
                <a:gd name="T36" fmla="*/ 216 w 449"/>
                <a:gd name="T37" fmla="*/ 464 h 709"/>
                <a:gd name="T38" fmla="*/ 183 w 449"/>
                <a:gd name="T39" fmla="*/ 455 h 709"/>
                <a:gd name="T40" fmla="*/ 186 w 449"/>
                <a:gd name="T41" fmla="*/ 478 h 709"/>
                <a:gd name="T42" fmla="*/ 198 w 449"/>
                <a:gd name="T43" fmla="*/ 511 h 709"/>
                <a:gd name="T44" fmla="*/ 213 w 449"/>
                <a:gd name="T45" fmla="*/ 531 h 709"/>
                <a:gd name="T46" fmla="*/ 213 w 449"/>
                <a:gd name="T47" fmla="*/ 561 h 709"/>
                <a:gd name="T48" fmla="*/ 216 w 449"/>
                <a:gd name="T49" fmla="*/ 590 h 709"/>
                <a:gd name="T50" fmla="*/ 192 w 449"/>
                <a:gd name="T51" fmla="*/ 617 h 709"/>
                <a:gd name="T52" fmla="*/ 154 w 449"/>
                <a:gd name="T53" fmla="*/ 652 h 709"/>
                <a:gd name="T54" fmla="*/ 136 w 449"/>
                <a:gd name="T55" fmla="*/ 697 h 709"/>
                <a:gd name="T56" fmla="*/ 104 w 449"/>
                <a:gd name="T57" fmla="*/ 703 h 709"/>
                <a:gd name="T58" fmla="*/ 80 w 449"/>
                <a:gd name="T59" fmla="*/ 673 h 709"/>
                <a:gd name="T60" fmla="*/ 71 w 449"/>
                <a:gd name="T61" fmla="*/ 661 h 709"/>
                <a:gd name="T62" fmla="*/ 62 w 449"/>
                <a:gd name="T63" fmla="*/ 658 h 709"/>
                <a:gd name="T64" fmla="*/ 47 w 449"/>
                <a:gd name="T65" fmla="*/ 632 h 709"/>
                <a:gd name="T66" fmla="*/ 21 w 449"/>
                <a:gd name="T67" fmla="*/ 620 h 709"/>
                <a:gd name="T68" fmla="*/ 3 w 449"/>
                <a:gd name="T69" fmla="*/ 608 h 709"/>
                <a:gd name="T70" fmla="*/ 0 w 449"/>
                <a:gd name="T71" fmla="*/ 585 h 709"/>
                <a:gd name="T72" fmla="*/ 15 w 449"/>
                <a:gd name="T73" fmla="*/ 552 h 709"/>
                <a:gd name="T74" fmla="*/ 39 w 449"/>
                <a:gd name="T75" fmla="*/ 543 h 709"/>
                <a:gd name="T76" fmla="*/ 56 w 449"/>
                <a:gd name="T77" fmla="*/ 531 h 709"/>
                <a:gd name="T78" fmla="*/ 59 w 449"/>
                <a:gd name="T79" fmla="*/ 514 h 709"/>
                <a:gd name="T80" fmla="*/ 39 w 449"/>
                <a:gd name="T81" fmla="*/ 496 h 709"/>
                <a:gd name="T82" fmla="*/ 18 w 449"/>
                <a:gd name="T83" fmla="*/ 490 h 709"/>
                <a:gd name="T84" fmla="*/ 15 w 449"/>
                <a:gd name="T85" fmla="*/ 472 h 709"/>
                <a:gd name="T86" fmla="*/ 30 w 449"/>
                <a:gd name="T87" fmla="*/ 452 h 709"/>
                <a:gd name="T88" fmla="*/ 15 w 449"/>
                <a:gd name="T89" fmla="*/ 437 h 709"/>
                <a:gd name="T90" fmla="*/ 39 w 449"/>
                <a:gd name="T91" fmla="*/ 419 h 709"/>
                <a:gd name="T92" fmla="*/ 24 w 449"/>
                <a:gd name="T93" fmla="*/ 399 h 709"/>
                <a:gd name="T94" fmla="*/ 33 w 449"/>
                <a:gd name="T95" fmla="*/ 369 h 709"/>
                <a:gd name="T96" fmla="*/ 18 w 449"/>
                <a:gd name="T97" fmla="*/ 343 h 709"/>
                <a:gd name="T98" fmla="*/ 45 w 449"/>
                <a:gd name="T99" fmla="*/ 319 h 709"/>
                <a:gd name="T100" fmla="*/ 65 w 449"/>
                <a:gd name="T101" fmla="*/ 275 h 709"/>
                <a:gd name="T102" fmla="*/ 83 w 449"/>
                <a:gd name="T103" fmla="*/ 233 h 709"/>
                <a:gd name="T104" fmla="*/ 101 w 449"/>
                <a:gd name="T105" fmla="*/ 189 h 709"/>
                <a:gd name="T106" fmla="*/ 151 w 449"/>
                <a:gd name="T107" fmla="*/ 174 h 709"/>
                <a:gd name="T108" fmla="*/ 204 w 449"/>
                <a:gd name="T109" fmla="*/ 118 h 709"/>
                <a:gd name="T110" fmla="*/ 174 w 449"/>
                <a:gd name="T111" fmla="*/ 74 h 709"/>
                <a:gd name="T112" fmla="*/ 157 w 449"/>
                <a:gd name="T113" fmla="*/ 50 h 709"/>
                <a:gd name="T114" fmla="*/ 163 w 449"/>
                <a:gd name="T115" fmla="*/ 30 h 709"/>
                <a:gd name="T116" fmla="*/ 216 w 449"/>
                <a:gd name="T117" fmla="*/ 39 h 709"/>
                <a:gd name="T118" fmla="*/ 275 w 449"/>
                <a:gd name="T119" fmla="*/ 27 h 7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9"/>
                <a:gd name="T181" fmla="*/ 0 h 709"/>
                <a:gd name="T182" fmla="*/ 449 w 449"/>
                <a:gd name="T183" fmla="*/ 709 h 7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9" h="709">
                  <a:moveTo>
                    <a:pt x="275" y="27"/>
                  </a:moveTo>
                  <a:lnTo>
                    <a:pt x="278" y="27"/>
                  </a:lnTo>
                  <a:lnTo>
                    <a:pt x="284" y="33"/>
                  </a:lnTo>
                  <a:lnTo>
                    <a:pt x="289" y="36"/>
                  </a:lnTo>
                  <a:lnTo>
                    <a:pt x="298" y="36"/>
                  </a:lnTo>
                  <a:lnTo>
                    <a:pt x="310" y="30"/>
                  </a:lnTo>
                  <a:lnTo>
                    <a:pt x="322" y="21"/>
                  </a:lnTo>
                  <a:lnTo>
                    <a:pt x="331" y="9"/>
                  </a:lnTo>
                  <a:lnTo>
                    <a:pt x="334" y="0"/>
                  </a:lnTo>
                  <a:lnTo>
                    <a:pt x="343" y="6"/>
                  </a:lnTo>
                  <a:lnTo>
                    <a:pt x="348" y="12"/>
                  </a:lnTo>
                  <a:lnTo>
                    <a:pt x="351" y="15"/>
                  </a:lnTo>
                  <a:lnTo>
                    <a:pt x="354" y="24"/>
                  </a:lnTo>
                  <a:lnTo>
                    <a:pt x="357" y="30"/>
                  </a:lnTo>
                  <a:lnTo>
                    <a:pt x="363" y="33"/>
                  </a:lnTo>
                  <a:lnTo>
                    <a:pt x="369" y="45"/>
                  </a:lnTo>
                  <a:lnTo>
                    <a:pt x="372" y="50"/>
                  </a:lnTo>
                  <a:lnTo>
                    <a:pt x="378" y="59"/>
                  </a:lnTo>
                  <a:lnTo>
                    <a:pt x="384" y="65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59"/>
                  </a:lnTo>
                  <a:lnTo>
                    <a:pt x="399" y="56"/>
                  </a:lnTo>
                  <a:lnTo>
                    <a:pt x="408" y="59"/>
                  </a:lnTo>
                  <a:lnTo>
                    <a:pt x="408" y="71"/>
                  </a:lnTo>
                  <a:lnTo>
                    <a:pt x="402" y="74"/>
                  </a:lnTo>
                  <a:lnTo>
                    <a:pt x="402" y="80"/>
                  </a:lnTo>
                  <a:lnTo>
                    <a:pt x="405" y="86"/>
                  </a:lnTo>
                  <a:lnTo>
                    <a:pt x="410" y="86"/>
                  </a:lnTo>
                  <a:lnTo>
                    <a:pt x="413" y="92"/>
                  </a:lnTo>
                  <a:lnTo>
                    <a:pt x="413" y="95"/>
                  </a:lnTo>
                  <a:lnTo>
                    <a:pt x="413" y="101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6" y="115"/>
                  </a:lnTo>
                  <a:lnTo>
                    <a:pt x="419" y="118"/>
                  </a:lnTo>
                  <a:lnTo>
                    <a:pt x="419" y="124"/>
                  </a:lnTo>
                  <a:lnTo>
                    <a:pt x="425" y="124"/>
                  </a:lnTo>
                  <a:lnTo>
                    <a:pt x="425" y="121"/>
                  </a:lnTo>
                  <a:lnTo>
                    <a:pt x="431" y="124"/>
                  </a:lnTo>
                  <a:lnTo>
                    <a:pt x="437" y="127"/>
                  </a:lnTo>
                  <a:lnTo>
                    <a:pt x="446" y="124"/>
                  </a:lnTo>
                  <a:lnTo>
                    <a:pt x="449" y="124"/>
                  </a:lnTo>
                  <a:lnTo>
                    <a:pt x="440" y="142"/>
                  </a:lnTo>
                  <a:lnTo>
                    <a:pt x="434" y="151"/>
                  </a:lnTo>
                  <a:lnTo>
                    <a:pt x="425" y="160"/>
                  </a:lnTo>
                  <a:lnTo>
                    <a:pt x="416" y="163"/>
                  </a:lnTo>
                  <a:lnTo>
                    <a:pt x="408" y="171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10" y="177"/>
                  </a:lnTo>
                  <a:lnTo>
                    <a:pt x="413" y="180"/>
                  </a:lnTo>
                  <a:lnTo>
                    <a:pt x="413" y="192"/>
                  </a:lnTo>
                  <a:lnTo>
                    <a:pt x="408" y="195"/>
                  </a:lnTo>
                  <a:lnTo>
                    <a:pt x="396" y="198"/>
                  </a:lnTo>
                  <a:lnTo>
                    <a:pt x="390" y="201"/>
                  </a:lnTo>
                  <a:lnTo>
                    <a:pt x="381" y="207"/>
                  </a:lnTo>
                  <a:lnTo>
                    <a:pt x="372" y="210"/>
                  </a:lnTo>
                  <a:lnTo>
                    <a:pt x="366" y="216"/>
                  </a:lnTo>
                  <a:lnTo>
                    <a:pt x="363" y="225"/>
                  </a:lnTo>
                  <a:lnTo>
                    <a:pt x="363" y="230"/>
                  </a:lnTo>
                  <a:lnTo>
                    <a:pt x="360" y="236"/>
                  </a:lnTo>
                  <a:lnTo>
                    <a:pt x="363" y="245"/>
                  </a:lnTo>
                  <a:lnTo>
                    <a:pt x="366" y="251"/>
                  </a:lnTo>
                  <a:lnTo>
                    <a:pt x="363" y="254"/>
                  </a:lnTo>
                  <a:lnTo>
                    <a:pt x="357" y="257"/>
                  </a:lnTo>
                  <a:lnTo>
                    <a:pt x="348" y="269"/>
                  </a:lnTo>
                  <a:lnTo>
                    <a:pt x="343" y="281"/>
                  </a:lnTo>
                  <a:lnTo>
                    <a:pt x="340" y="287"/>
                  </a:lnTo>
                  <a:lnTo>
                    <a:pt x="340" y="292"/>
                  </a:lnTo>
                  <a:lnTo>
                    <a:pt x="340" y="298"/>
                  </a:lnTo>
                  <a:lnTo>
                    <a:pt x="343" y="304"/>
                  </a:lnTo>
                  <a:lnTo>
                    <a:pt x="343" y="307"/>
                  </a:lnTo>
                  <a:lnTo>
                    <a:pt x="337" y="307"/>
                  </a:lnTo>
                  <a:lnTo>
                    <a:pt x="334" y="310"/>
                  </a:lnTo>
                  <a:lnTo>
                    <a:pt x="331" y="310"/>
                  </a:lnTo>
                  <a:lnTo>
                    <a:pt x="328" y="316"/>
                  </a:lnTo>
                  <a:lnTo>
                    <a:pt x="328" y="319"/>
                  </a:lnTo>
                  <a:lnTo>
                    <a:pt x="325" y="322"/>
                  </a:lnTo>
                  <a:lnTo>
                    <a:pt x="322" y="328"/>
                  </a:lnTo>
                  <a:lnTo>
                    <a:pt x="319" y="334"/>
                  </a:lnTo>
                  <a:lnTo>
                    <a:pt x="307" y="337"/>
                  </a:lnTo>
                  <a:lnTo>
                    <a:pt x="301" y="337"/>
                  </a:lnTo>
                  <a:lnTo>
                    <a:pt x="298" y="331"/>
                  </a:lnTo>
                  <a:lnTo>
                    <a:pt x="295" y="328"/>
                  </a:lnTo>
                  <a:lnTo>
                    <a:pt x="292" y="328"/>
                  </a:lnTo>
                  <a:lnTo>
                    <a:pt x="284" y="331"/>
                  </a:lnTo>
                  <a:lnTo>
                    <a:pt x="281" y="331"/>
                  </a:lnTo>
                  <a:lnTo>
                    <a:pt x="272" y="331"/>
                  </a:lnTo>
                  <a:lnTo>
                    <a:pt x="269" y="328"/>
                  </a:lnTo>
                  <a:lnTo>
                    <a:pt x="263" y="331"/>
                  </a:lnTo>
                  <a:lnTo>
                    <a:pt x="257" y="334"/>
                  </a:lnTo>
                  <a:lnTo>
                    <a:pt x="251" y="354"/>
                  </a:lnTo>
                  <a:lnTo>
                    <a:pt x="248" y="360"/>
                  </a:lnTo>
                  <a:lnTo>
                    <a:pt x="242" y="366"/>
                  </a:lnTo>
                  <a:lnTo>
                    <a:pt x="236" y="366"/>
                  </a:lnTo>
                  <a:lnTo>
                    <a:pt x="233" y="363"/>
                  </a:lnTo>
                  <a:lnTo>
                    <a:pt x="227" y="363"/>
                  </a:lnTo>
                  <a:lnTo>
                    <a:pt x="227" y="369"/>
                  </a:lnTo>
                  <a:lnTo>
                    <a:pt x="230" y="378"/>
                  </a:lnTo>
                  <a:lnTo>
                    <a:pt x="233" y="387"/>
                  </a:lnTo>
                  <a:lnTo>
                    <a:pt x="233" y="396"/>
                  </a:lnTo>
                  <a:lnTo>
                    <a:pt x="236" y="405"/>
                  </a:lnTo>
                  <a:lnTo>
                    <a:pt x="239" y="410"/>
                  </a:lnTo>
                  <a:lnTo>
                    <a:pt x="242" y="416"/>
                  </a:lnTo>
                  <a:lnTo>
                    <a:pt x="239" y="419"/>
                  </a:lnTo>
                  <a:lnTo>
                    <a:pt x="239" y="425"/>
                  </a:lnTo>
                  <a:lnTo>
                    <a:pt x="239" y="428"/>
                  </a:lnTo>
                  <a:lnTo>
                    <a:pt x="239" y="434"/>
                  </a:lnTo>
                  <a:lnTo>
                    <a:pt x="236" y="443"/>
                  </a:lnTo>
                  <a:lnTo>
                    <a:pt x="236" y="446"/>
                  </a:lnTo>
                  <a:lnTo>
                    <a:pt x="236" y="455"/>
                  </a:lnTo>
                  <a:lnTo>
                    <a:pt x="245" y="461"/>
                  </a:lnTo>
                  <a:lnTo>
                    <a:pt x="248" y="461"/>
                  </a:lnTo>
                  <a:lnTo>
                    <a:pt x="257" y="461"/>
                  </a:lnTo>
                  <a:lnTo>
                    <a:pt x="263" y="461"/>
                  </a:lnTo>
                  <a:lnTo>
                    <a:pt x="269" y="464"/>
                  </a:lnTo>
                  <a:lnTo>
                    <a:pt x="269" y="469"/>
                  </a:lnTo>
                  <a:lnTo>
                    <a:pt x="272" y="475"/>
                  </a:lnTo>
                  <a:lnTo>
                    <a:pt x="272" y="481"/>
                  </a:lnTo>
                  <a:lnTo>
                    <a:pt x="263" y="487"/>
                  </a:lnTo>
                  <a:lnTo>
                    <a:pt x="260" y="487"/>
                  </a:lnTo>
                  <a:lnTo>
                    <a:pt x="254" y="481"/>
                  </a:lnTo>
                  <a:lnTo>
                    <a:pt x="254" y="478"/>
                  </a:lnTo>
                  <a:lnTo>
                    <a:pt x="257" y="475"/>
                  </a:lnTo>
                  <a:lnTo>
                    <a:pt x="251" y="472"/>
                  </a:lnTo>
                  <a:lnTo>
                    <a:pt x="245" y="472"/>
                  </a:lnTo>
                  <a:lnTo>
                    <a:pt x="233" y="478"/>
                  </a:lnTo>
                  <a:lnTo>
                    <a:pt x="227" y="478"/>
                  </a:lnTo>
                  <a:lnTo>
                    <a:pt x="225" y="472"/>
                  </a:lnTo>
                  <a:lnTo>
                    <a:pt x="225" y="467"/>
                  </a:lnTo>
                  <a:lnTo>
                    <a:pt x="219" y="464"/>
                  </a:lnTo>
                  <a:lnTo>
                    <a:pt x="216" y="464"/>
                  </a:lnTo>
                  <a:lnTo>
                    <a:pt x="210" y="464"/>
                  </a:lnTo>
                  <a:lnTo>
                    <a:pt x="207" y="461"/>
                  </a:lnTo>
                  <a:lnTo>
                    <a:pt x="201" y="461"/>
                  </a:lnTo>
                  <a:lnTo>
                    <a:pt x="198" y="461"/>
                  </a:lnTo>
                  <a:lnTo>
                    <a:pt x="195" y="461"/>
                  </a:lnTo>
                  <a:lnTo>
                    <a:pt x="192" y="455"/>
                  </a:lnTo>
                  <a:lnTo>
                    <a:pt x="183" y="455"/>
                  </a:lnTo>
                  <a:lnTo>
                    <a:pt x="180" y="455"/>
                  </a:lnTo>
                  <a:lnTo>
                    <a:pt x="177" y="461"/>
                  </a:lnTo>
                  <a:lnTo>
                    <a:pt x="177" y="464"/>
                  </a:lnTo>
                  <a:lnTo>
                    <a:pt x="174" y="469"/>
                  </a:lnTo>
                  <a:lnTo>
                    <a:pt x="180" y="475"/>
                  </a:lnTo>
                  <a:lnTo>
                    <a:pt x="183" y="478"/>
                  </a:lnTo>
                  <a:lnTo>
                    <a:pt x="186" y="478"/>
                  </a:lnTo>
                  <a:lnTo>
                    <a:pt x="189" y="484"/>
                  </a:lnTo>
                  <a:lnTo>
                    <a:pt x="195" y="484"/>
                  </a:lnTo>
                  <a:lnTo>
                    <a:pt x="198" y="487"/>
                  </a:lnTo>
                  <a:lnTo>
                    <a:pt x="201" y="496"/>
                  </a:lnTo>
                  <a:lnTo>
                    <a:pt x="201" y="502"/>
                  </a:lnTo>
                  <a:lnTo>
                    <a:pt x="198" y="508"/>
                  </a:lnTo>
                  <a:lnTo>
                    <a:pt x="198" y="511"/>
                  </a:lnTo>
                  <a:lnTo>
                    <a:pt x="198" y="517"/>
                  </a:lnTo>
                  <a:lnTo>
                    <a:pt x="198" y="520"/>
                  </a:lnTo>
                  <a:lnTo>
                    <a:pt x="204" y="520"/>
                  </a:lnTo>
                  <a:lnTo>
                    <a:pt x="207" y="526"/>
                  </a:lnTo>
                  <a:lnTo>
                    <a:pt x="213" y="528"/>
                  </a:lnTo>
                  <a:lnTo>
                    <a:pt x="216" y="528"/>
                  </a:lnTo>
                  <a:lnTo>
                    <a:pt x="213" y="531"/>
                  </a:lnTo>
                  <a:lnTo>
                    <a:pt x="210" y="534"/>
                  </a:lnTo>
                  <a:lnTo>
                    <a:pt x="216" y="540"/>
                  </a:lnTo>
                  <a:lnTo>
                    <a:pt x="213" y="543"/>
                  </a:lnTo>
                  <a:lnTo>
                    <a:pt x="213" y="546"/>
                  </a:lnTo>
                  <a:lnTo>
                    <a:pt x="213" y="552"/>
                  </a:lnTo>
                  <a:lnTo>
                    <a:pt x="213" y="555"/>
                  </a:lnTo>
                  <a:lnTo>
                    <a:pt x="213" y="561"/>
                  </a:lnTo>
                  <a:lnTo>
                    <a:pt x="219" y="564"/>
                  </a:lnTo>
                  <a:lnTo>
                    <a:pt x="222" y="567"/>
                  </a:lnTo>
                  <a:lnTo>
                    <a:pt x="222" y="576"/>
                  </a:lnTo>
                  <a:lnTo>
                    <a:pt x="225" y="582"/>
                  </a:lnTo>
                  <a:lnTo>
                    <a:pt x="222" y="585"/>
                  </a:lnTo>
                  <a:lnTo>
                    <a:pt x="219" y="585"/>
                  </a:lnTo>
                  <a:lnTo>
                    <a:pt x="216" y="590"/>
                  </a:lnTo>
                  <a:lnTo>
                    <a:pt x="207" y="599"/>
                  </a:lnTo>
                  <a:lnTo>
                    <a:pt x="204" y="602"/>
                  </a:lnTo>
                  <a:lnTo>
                    <a:pt x="198" y="605"/>
                  </a:lnTo>
                  <a:lnTo>
                    <a:pt x="195" y="605"/>
                  </a:lnTo>
                  <a:lnTo>
                    <a:pt x="189" y="611"/>
                  </a:lnTo>
                  <a:lnTo>
                    <a:pt x="186" y="614"/>
                  </a:lnTo>
                  <a:lnTo>
                    <a:pt x="192" y="617"/>
                  </a:lnTo>
                  <a:lnTo>
                    <a:pt x="192" y="623"/>
                  </a:lnTo>
                  <a:lnTo>
                    <a:pt x="183" y="626"/>
                  </a:lnTo>
                  <a:lnTo>
                    <a:pt x="177" y="632"/>
                  </a:lnTo>
                  <a:lnTo>
                    <a:pt x="168" y="638"/>
                  </a:lnTo>
                  <a:lnTo>
                    <a:pt x="168" y="641"/>
                  </a:lnTo>
                  <a:lnTo>
                    <a:pt x="160" y="647"/>
                  </a:lnTo>
                  <a:lnTo>
                    <a:pt x="154" y="652"/>
                  </a:lnTo>
                  <a:lnTo>
                    <a:pt x="151" y="655"/>
                  </a:lnTo>
                  <a:lnTo>
                    <a:pt x="145" y="658"/>
                  </a:lnTo>
                  <a:lnTo>
                    <a:pt x="142" y="664"/>
                  </a:lnTo>
                  <a:lnTo>
                    <a:pt x="142" y="676"/>
                  </a:lnTo>
                  <a:lnTo>
                    <a:pt x="142" y="679"/>
                  </a:lnTo>
                  <a:lnTo>
                    <a:pt x="139" y="688"/>
                  </a:lnTo>
                  <a:lnTo>
                    <a:pt x="136" y="697"/>
                  </a:lnTo>
                  <a:lnTo>
                    <a:pt x="130" y="700"/>
                  </a:lnTo>
                  <a:lnTo>
                    <a:pt x="127" y="706"/>
                  </a:lnTo>
                  <a:lnTo>
                    <a:pt x="121" y="709"/>
                  </a:lnTo>
                  <a:lnTo>
                    <a:pt x="118" y="706"/>
                  </a:lnTo>
                  <a:lnTo>
                    <a:pt x="115" y="703"/>
                  </a:lnTo>
                  <a:lnTo>
                    <a:pt x="106" y="703"/>
                  </a:lnTo>
                  <a:lnTo>
                    <a:pt x="104" y="703"/>
                  </a:lnTo>
                  <a:lnTo>
                    <a:pt x="101" y="706"/>
                  </a:lnTo>
                  <a:lnTo>
                    <a:pt x="95" y="709"/>
                  </a:lnTo>
                  <a:lnTo>
                    <a:pt x="92" y="709"/>
                  </a:lnTo>
                  <a:lnTo>
                    <a:pt x="86" y="703"/>
                  </a:lnTo>
                  <a:lnTo>
                    <a:pt x="86" y="691"/>
                  </a:lnTo>
                  <a:lnTo>
                    <a:pt x="83" y="679"/>
                  </a:lnTo>
                  <a:lnTo>
                    <a:pt x="80" y="673"/>
                  </a:lnTo>
                  <a:lnTo>
                    <a:pt x="83" y="670"/>
                  </a:lnTo>
                  <a:lnTo>
                    <a:pt x="83" y="667"/>
                  </a:lnTo>
                  <a:lnTo>
                    <a:pt x="77" y="670"/>
                  </a:lnTo>
                  <a:lnTo>
                    <a:pt x="74" y="670"/>
                  </a:lnTo>
                  <a:lnTo>
                    <a:pt x="71" y="667"/>
                  </a:lnTo>
                  <a:lnTo>
                    <a:pt x="71" y="664"/>
                  </a:lnTo>
                  <a:lnTo>
                    <a:pt x="71" y="661"/>
                  </a:lnTo>
                  <a:lnTo>
                    <a:pt x="68" y="661"/>
                  </a:lnTo>
                  <a:lnTo>
                    <a:pt x="68" y="664"/>
                  </a:lnTo>
                  <a:lnTo>
                    <a:pt x="65" y="667"/>
                  </a:lnTo>
                  <a:lnTo>
                    <a:pt x="62" y="667"/>
                  </a:lnTo>
                  <a:lnTo>
                    <a:pt x="56" y="667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59" y="655"/>
                  </a:lnTo>
                  <a:lnTo>
                    <a:pt x="56" y="652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3" y="641"/>
                  </a:lnTo>
                  <a:lnTo>
                    <a:pt x="50" y="635"/>
                  </a:lnTo>
                  <a:lnTo>
                    <a:pt x="47" y="632"/>
                  </a:lnTo>
                  <a:lnTo>
                    <a:pt x="45" y="626"/>
                  </a:lnTo>
                  <a:lnTo>
                    <a:pt x="39" y="623"/>
                  </a:lnTo>
                  <a:lnTo>
                    <a:pt x="36" y="620"/>
                  </a:lnTo>
                  <a:lnTo>
                    <a:pt x="33" y="617"/>
                  </a:lnTo>
                  <a:lnTo>
                    <a:pt x="27" y="617"/>
                  </a:lnTo>
                  <a:lnTo>
                    <a:pt x="24" y="617"/>
                  </a:lnTo>
                  <a:lnTo>
                    <a:pt x="21" y="620"/>
                  </a:lnTo>
                  <a:lnTo>
                    <a:pt x="15" y="620"/>
                  </a:lnTo>
                  <a:lnTo>
                    <a:pt x="12" y="620"/>
                  </a:lnTo>
                  <a:lnTo>
                    <a:pt x="9" y="620"/>
                  </a:lnTo>
                  <a:lnTo>
                    <a:pt x="6" y="617"/>
                  </a:lnTo>
                  <a:lnTo>
                    <a:pt x="6" y="614"/>
                  </a:lnTo>
                  <a:lnTo>
                    <a:pt x="6" y="611"/>
                  </a:lnTo>
                  <a:lnTo>
                    <a:pt x="3" y="608"/>
                  </a:lnTo>
                  <a:lnTo>
                    <a:pt x="3" y="605"/>
                  </a:lnTo>
                  <a:lnTo>
                    <a:pt x="0" y="608"/>
                  </a:lnTo>
                  <a:lnTo>
                    <a:pt x="0" y="605"/>
                  </a:lnTo>
                  <a:lnTo>
                    <a:pt x="0" y="602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0" y="585"/>
                  </a:lnTo>
                  <a:lnTo>
                    <a:pt x="3" y="576"/>
                  </a:lnTo>
                  <a:lnTo>
                    <a:pt x="6" y="573"/>
                  </a:lnTo>
                  <a:lnTo>
                    <a:pt x="6" y="567"/>
                  </a:lnTo>
                  <a:lnTo>
                    <a:pt x="6" y="561"/>
                  </a:lnTo>
                  <a:lnTo>
                    <a:pt x="9" y="558"/>
                  </a:lnTo>
                  <a:lnTo>
                    <a:pt x="15" y="555"/>
                  </a:lnTo>
                  <a:lnTo>
                    <a:pt x="15" y="552"/>
                  </a:lnTo>
                  <a:lnTo>
                    <a:pt x="15" y="549"/>
                  </a:lnTo>
                  <a:lnTo>
                    <a:pt x="21" y="540"/>
                  </a:lnTo>
                  <a:lnTo>
                    <a:pt x="27" y="537"/>
                  </a:lnTo>
                  <a:lnTo>
                    <a:pt x="30" y="534"/>
                  </a:lnTo>
                  <a:lnTo>
                    <a:pt x="36" y="537"/>
                  </a:lnTo>
                  <a:lnTo>
                    <a:pt x="39" y="537"/>
                  </a:lnTo>
                  <a:lnTo>
                    <a:pt x="39" y="543"/>
                  </a:lnTo>
                  <a:lnTo>
                    <a:pt x="45" y="543"/>
                  </a:lnTo>
                  <a:lnTo>
                    <a:pt x="47" y="543"/>
                  </a:lnTo>
                  <a:lnTo>
                    <a:pt x="47" y="549"/>
                  </a:lnTo>
                  <a:lnTo>
                    <a:pt x="53" y="546"/>
                  </a:lnTo>
                  <a:lnTo>
                    <a:pt x="62" y="540"/>
                  </a:lnTo>
                  <a:lnTo>
                    <a:pt x="62" y="537"/>
                  </a:lnTo>
                  <a:lnTo>
                    <a:pt x="56" y="531"/>
                  </a:lnTo>
                  <a:lnTo>
                    <a:pt x="59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1" y="523"/>
                  </a:lnTo>
                  <a:lnTo>
                    <a:pt x="68" y="520"/>
                  </a:lnTo>
                  <a:lnTo>
                    <a:pt x="65" y="517"/>
                  </a:lnTo>
                  <a:lnTo>
                    <a:pt x="59" y="514"/>
                  </a:lnTo>
                  <a:lnTo>
                    <a:pt x="56" y="514"/>
                  </a:lnTo>
                  <a:lnTo>
                    <a:pt x="50" y="511"/>
                  </a:lnTo>
                  <a:lnTo>
                    <a:pt x="42" y="508"/>
                  </a:lnTo>
                  <a:lnTo>
                    <a:pt x="42" y="505"/>
                  </a:lnTo>
                  <a:lnTo>
                    <a:pt x="45" y="502"/>
                  </a:lnTo>
                  <a:lnTo>
                    <a:pt x="45" y="499"/>
                  </a:lnTo>
                  <a:lnTo>
                    <a:pt x="39" y="496"/>
                  </a:lnTo>
                  <a:lnTo>
                    <a:pt x="33" y="493"/>
                  </a:lnTo>
                  <a:lnTo>
                    <a:pt x="33" y="490"/>
                  </a:lnTo>
                  <a:lnTo>
                    <a:pt x="30" y="484"/>
                  </a:lnTo>
                  <a:lnTo>
                    <a:pt x="24" y="484"/>
                  </a:lnTo>
                  <a:lnTo>
                    <a:pt x="21" y="484"/>
                  </a:lnTo>
                  <a:lnTo>
                    <a:pt x="21" y="490"/>
                  </a:lnTo>
                  <a:lnTo>
                    <a:pt x="18" y="490"/>
                  </a:lnTo>
                  <a:lnTo>
                    <a:pt x="12" y="487"/>
                  </a:lnTo>
                  <a:lnTo>
                    <a:pt x="18" y="484"/>
                  </a:lnTo>
                  <a:lnTo>
                    <a:pt x="21" y="484"/>
                  </a:lnTo>
                  <a:lnTo>
                    <a:pt x="24" y="478"/>
                  </a:lnTo>
                  <a:lnTo>
                    <a:pt x="21" y="475"/>
                  </a:lnTo>
                  <a:lnTo>
                    <a:pt x="18" y="475"/>
                  </a:lnTo>
                  <a:lnTo>
                    <a:pt x="15" y="472"/>
                  </a:lnTo>
                  <a:lnTo>
                    <a:pt x="21" y="472"/>
                  </a:lnTo>
                  <a:lnTo>
                    <a:pt x="24" y="472"/>
                  </a:lnTo>
                  <a:lnTo>
                    <a:pt x="30" y="472"/>
                  </a:lnTo>
                  <a:lnTo>
                    <a:pt x="33" y="467"/>
                  </a:lnTo>
                  <a:lnTo>
                    <a:pt x="33" y="464"/>
                  </a:lnTo>
                  <a:lnTo>
                    <a:pt x="33" y="458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1" y="449"/>
                  </a:lnTo>
                  <a:lnTo>
                    <a:pt x="15" y="452"/>
                  </a:lnTo>
                  <a:lnTo>
                    <a:pt x="12" y="446"/>
                  </a:lnTo>
                  <a:lnTo>
                    <a:pt x="15" y="443"/>
                  </a:lnTo>
                  <a:lnTo>
                    <a:pt x="12" y="440"/>
                  </a:lnTo>
                  <a:lnTo>
                    <a:pt x="15" y="437"/>
                  </a:lnTo>
                  <a:lnTo>
                    <a:pt x="21" y="437"/>
                  </a:lnTo>
                  <a:lnTo>
                    <a:pt x="27" y="437"/>
                  </a:lnTo>
                  <a:lnTo>
                    <a:pt x="33" y="434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6" y="422"/>
                  </a:lnTo>
                  <a:lnTo>
                    <a:pt x="39" y="419"/>
                  </a:lnTo>
                  <a:lnTo>
                    <a:pt x="42" y="416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9" y="399"/>
                  </a:lnTo>
                  <a:lnTo>
                    <a:pt x="33" y="402"/>
                  </a:lnTo>
                  <a:lnTo>
                    <a:pt x="27" y="402"/>
                  </a:lnTo>
                  <a:lnTo>
                    <a:pt x="24" y="399"/>
                  </a:lnTo>
                  <a:lnTo>
                    <a:pt x="27" y="396"/>
                  </a:lnTo>
                  <a:lnTo>
                    <a:pt x="30" y="393"/>
                  </a:lnTo>
                  <a:lnTo>
                    <a:pt x="36" y="390"/>
                  </a:lnTo>
                  <a:lnTo>
                    <a:pt x="33" y="387"/>
                  </a:lnTo>
                  <a:lnTo>
                    <a:pt x="33" y="381"/>
                  </a:lnTo>
                  <a:lnTo>
                    <a:pt x="33" y="372"/>
                  </a:lnTo>
                  <a:lnTo>
                    <a:pt x="33" y="369"/>
                  </a:lnTo>
                  <a:lnTo>
                    <a:pt x="33" y="366"/>
                  </a:lnTo>
                  <a:lnTo>
                    <a:pt x="30" y="363"/>
                  </a:lnTo>
                  <a:lnTo>
                    <a:pt x="27" y="360"/>
                  </a:lnTo>
                  <a:lnTo>
                    <a:pt x="21" y="357"/>
                  </a:lnTo>
                  <a:lnTo>
                    <a:pt x="12" y="354"/>
                  </a:lnTo>
                  <a:lnTo>
                    <a:pt x="15" y="348"/>
                  </a:lnTo>
                  <a:lnTo>
                    <a:pt x="18" y="343"/>
                  </a:lnTo>
                  <a:lnTo>
                    <a:pt x="21" y="340"/>
                  </a:lnTo>
                  <a:lnTo>
                    <a:pt x="24" y="337"/>
                  </a:lnTo>
                  <a:lnTo>
                    <a:pt x="33" y="331"/>
                  </a:lnTo>
                  <a:lnTo>
                    <a:pt x="39" y="331"/>
                  </a:lnTo>
                  <a:lnTo>
                    <a:pt x="42" y="325"/>
                  </a:lnTo>
                  <a:lnTo>
                    <a:pt x="47" y="322"/>
                  </a:lnTo>
                  <a:lnTo>
                    <a:pt x="45" y="319"/>
                  </a:lnTo>
                  <a:lnTo>
                    <a:pt x="47" y="319"/>
                  </a:lnTo>
                  <a:lnTo>
                    <a:pt x="53" y="319"/>
                  </a:lnTo>
                  <a:lnTo>
                    <a:pt x="56" y="319"/>
                  </a:lnTo>
                  <a:lnTo>
                    <a:pt x="59" y="304"/>
                  </a:lnTo>
                  <a:lnTo>
                    <a:pt x="59" y="284"/>
                  </a:lnTo>
                  <a:lnTo>
                    <a:pt x="56" y="278"/>
                  </a:lnTo>
                  <a:lnTo>
                    <a:pt x="65" y="275"/>
                  </a:lnTo>
                  <a:lnTo>
                    <a:pt x="68" y="272"/>
                  </a:lnTo>
                  <a:lnTo>
                    <a:pt x="68" y="263"/>
                  </a:lnTo>
                  <a:lnTo>
                    <a:pt x="65" y="257"/>
                  </a:lnTo>
                  <a:lnTo>
                    <a:pt x="68" y="245"/>
                  </a:lnTo>
                  <a:lnTo>
                    <a:pt x="74" y="245"/>
                  </a:lnTo>
                  <a:lnTo>
                    <a:pt x="74" y="230"/>
                  </a:lnTo>
                  <a:lnTo>
                    <a:pt x="83" y="233"/>
                  </a:lnTo>
                  <a:lnTo>
                    <a:pt x="89" y="233"/>
                  </a:lnTo>
                  <a:lnTo>
                    <a:pt x="89" y="225"/>
                  </a:lnTo>
                  <a:lnTo>
                    <a:pt x="86" y="222"/>
                  </a:lnTo>
                  <a:lnTo>
                    <a:pt x="86" y="219"/>
                  </a:lnTo>
                  <a:lnTo>
                    <a:pt x="92" y="213"/>
                  </a:lnTo>
                  <a:lnTo>
                    <a:pt x="98" y="213"/>
                  </a:lnTo>
                  <a:lnTo>
                    <a:pt x="101" y="189"/>
                  </a:lnTo>
                  <a:lnTo>
                    <a:pt x="115" y="189"/>
                  </a:lnTo>
                  <a:lnTo>
                    <a:pt x="121" y="186"/>
                  </a:lnTo>
                  <a:lnTo>
                    <a:pt x="127" y="186"/>
                  </a:lnTo>
                  <a:lnTo>
                    <a:pt x="133" y="189"/>
                  </a:lnTo>
                  <a:lnTo>
                    <a:pt x="136" y="183"/>
                  </a:lnTo>
                  <a:lnTo>
                    <a:pt x="148" y="180"/>
                  </a:lnTo>
                  <a:lnTo>
                    <a:pt x="151" y="174"/>
                  </a:lnTo>
                  <a:lnTo>
                    <a:pt x="166" y="166"/>
                  </a:lnTo>
                  <a:lnTo>
                    <a:pt x="166" y="154"/>
                  </a:lnTo>
                  <a:lnTo>
                    <a:pt x="177" y="142"/>
                  </a:lnTo>
                  <a:lnTo>
                    <a:pt x="180" y="130"/>
                  </a:lnTo>
                  <a:lnTo>
                    <a:pt x="183" y="124"/>
                  </a:lnTo>
                  <a:lnTo>
                    <a:pt x="195" y="124"/>
                  </a:lnTo>
                  <a:lnTo>
                    <a:pt x="204" y="118"/>
                  </a:lnTo>
                  <a:lnTo>
                    <a:pt x="207" y="112"/>
                  </a:lnTo>
                  <a:lnTo>
                    <a:pt x="207" y="104"/>
                  </a:lnTo>
                  <a:lnTo>
                    <a:pt x="201" y="92"/>
                  </a:lnTo>
                  <a:lnTo>
                    <a:pt x="192" y="83"/>
                  </a:lnTo>
                  <a:lnTo>
                    <a:pt x="183" y="74"/>
                  </a:lnTo>
                  <a:lnTo>
                    <a:pt x="177" y="77"/>
                  </a:lnTo>
                  <a:lnTo>
                    <a:pt x="174" y="74"/>
                  </a:lnTo>
                  <a:lnTo>
                    <a:pt x="166" y="68"/>
                  </a:lnTo>
                  <a:lnTo>
                    <a:pt x="160" y="71"/>
                  </a:lnTo>
                  <a:lnTo>
                    <a:pt x="154" y="74"/>
                  </a:lnTo>
                  <a:lnTo>
                    <a:pt x="148" y="71"/>
                  </a:lnTo>
                  <a:lnTo>
                    <a:pt x="145" y="62"/>
                  </a:lnTo>
                  <a:lnTo>
                    <a:pt x="148" y="59"/>
                  </a:lnTo>
                  <a:lnTo>
                    <a:pt x="157" y="50"/>
                  </a:lnTo>
                  <a:lnTo>
                    <a:pt x="160" y="45"/>
                  </a:lnTo>
                  <a:lnTo>
                    <a:pt x="157" y="42"/>
                  </a:lnTo>
                  <a:lnTo>
                    <a:pt x="148" y="39"/>
                  </a:lnTo>
                  <a:lnTo>
                    <a:pt x="148" y="30"/>
                  </a:lnTo>
                  <a:lnTo>
                    <a:pt x="151" y="27"/>
                  </a:lnTo>
                  <a:lnTo>
                    <a:pt x="157" y="27"/>
                  </a:lnTo>
                  <a:lnTo>
                    <a:pt x="163" y="30"/>
                  </a:lnTo>
                  <a:lnTo>
                    <a:pt x="166" y="36"/>
                  </a:lnTo>
                  <a:lnTo>
                    <a:pt x="171" y="36"/>
                  </a:lnTo>
                  <a:lnTo>
                    <a:pt x="174" y="36"/>
                  </a:lnTo>
                  <a:lnTo>
                    <a:pt x="183" y="33"/>
                  </a:lnTo>
                  <a:lnTo>
                    <a:pt x="192" y="33"/>
                  </a:lnTo>
                  <a:lnTo>
                    <a:pt x="207" y="36"/>
                  </a:lnTo>
                  <a:lnTo>
                    <a:pt x="216" y="39"/>
                  </a:lnTo>
                  <a:lnTo>
                    <a:pt x="227" y="42"/>
                  </a:lnTo>
                  <a:lnTo>
                    <a:pt x="236" y="45"/>
                  </a:lnTo>
                  <a:lnTo>
                    <a:pt x="245" y="47"/>
                  </a:lnTo>
                  <a:lnTo>
                    <a:pt x="248" y="39"/>
                  </a:lnTo>
                  <a:lnTo>
                    <a:pt x="257" y="39"/>
                  </a:lnTo>
                  <a:lnTo>
                    <a:pt x="260" y="27"/>
                  </a:lnTo>
                  <a:lnTo>
                    <a:pt x="275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5" name="Freeform 136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417049" y="1508813"/>
              <a:ext cx="79474" cy="65843"/>
            </a:xfrm>
            <a:custGeom>
              <a:avLst/>
              <a:gdLst>
                <a:gd name="T0" fmla="*/ 354 w 481"/>
                <a:gd name="T1" fmla="*/ 333 h 371"/>
                <a:gd name="T2" fmla="*/ 321 w 481"/>
                <a:gd name="T3" fmla="*/ 318 h 371"/>
                <a:gd name="T4" fmla="*/ 295 w 481"/>
                <a:gd name="T5" fmla="*/ 307 h 371"/>
                <a:gd name="T6" fmla="*/ 295 w 481"/>
                <a:gd name="T7" fmla="*/ 324 h 371"/>
                <a:gd name="T8" fmla="*/ 295 w 481"/>
                <a:gd name="T9" fmla="*/ 348 h 371"/>
                <a:gd name="T10" fmla="*/ 271 w 481"/>
                <a:gd name="T11" fmla="*/ 371 h 371"/>
                <a:gd name="T12" fmla="*/ 265 w 481"/>
                <a:gd name="T13" fmla="*/ 360 h 371"/>
                <a:gd name="T14" fmla="*/ 221 w 481"/>
                <a:gd name="T15" fmla="*/ 357 h 371"/>
                <a:gd name="T16" fmla="*/ 195 w 481"/>
                <a:gd name="T17" fmla="*/ 363 h 371"/>
                <a:gd name="T18" fmla="*/ 192 w 481"/>
                <a:gd name="T19" fmla="*/ 348 h 371"/>
                <a:gd name="T20" fmla="*/ 177 w 481"/>
                <a:gd name="T21" fmla="*/ 321 h 371"/>
                <a:gd name="T22" fmla="*/ 135 w 481"/>
                <a:gd name="T23" fmla="*/ 327 h 371"/>
                <a:gd name="T24" fmla="*/ 91 w 481"/>
                <a:gd name="T25" fmla="*/ 330 h 371"/>
                <a:gd name="T26" fmla="*/ 74 w 481"/>
                <a:gd name="T27" fmla="*/ 315 h 371"/>
                <a:gd name="T28" fmla="*/ 115 w 481"/>
                <a:gd name="T29" fmla="*/ 268 h 371"/>
                <a:gd name="T30" fmla="*/ 91 w 481"/>
                <a:gd name="T31" fmla="*/ 268 h 371"/>
                <a:gd name="T32" fmla="*/ 76 w 481"/>
                <a:gd name="T33" fmla="*/ 251 h 371"/>
                <a:gd name="T34" fmla="*/ 71 w 481"/>
                <a:gd name="T35" fmla="*/ 230 h 371"/>
                <a:gd name="T36" fmla="*/ 65 w 481"/>
                <a:gd name="T37" fmla="*/ 200 h 371"/>
                <a:gd name="T38" fmla="*/ 44 w 481"/>
                <a:gd name="T39" fmla="*/ 203 h 371"/>
                <a:gd name="T40" fmla="*/ 20 w 481"/>
                <a:gd name="T41" fmla="*/ 168 h 371"/>
                <a:gd name="T42" fmla="*/ 3 w 481"/>
                <a:gd name="T43" fmla="*/ 141 h 371"/>
                <a:gd name="T44" fmla="*/ 9 w 481"/>
                <a:gd name="T45" fmla="*/ 106 h 371"/>
                <a:gd name="T46" fmla="*/ 71 w 481"/>
                <a:gd name="T47" fmla="*/ 106 h 371"/>
                <a:gd name="T48" fmla="*/ 115 w 481"/>
                <a:gd name="T49" fmla="*/ 112 h 371"/>
                <a:gd name="T50" fmla="*/ 150 w 481"/>
                <a:gd name="T51" fmla="*/ 121 h 371"/>
                <a:gd name="T52" fmla="*/ 180 w 481"/>
                <a:gd name="T53" fmla="*/ 124 h 371"/>
                <a:gd name="T54" fmla="*/ 236 w 481"/>
                <a:gd name="T55" fmla="*/ 97 h 371"/>
                <a:gd name="T56" fmla="*/ 274 w 481"/>
                <a:gd name="T57" fmla="*/ 76 h 371"/>
                <a:gd name="T58" fmla="*/ 310 w 481"/>
                <a:gd name="T59" fmla="*/ 97 h 371"/>
                <a:gd name="T60" fmla="*/ 339 w 481"/>
                <a:gd name="T61" fmla="*/ 91 h 371"/>
                <a:gd name="T62" fmla="*/ 369 w 481"/>
                <a:gd name="T63" fmla="*/ 97 h 371"/>
                <a:gd name="T64" fmla="*/ 392 w 481"/>
                <a:gd name="T65" fmla="*/ 59 h 371"/>
                <a:gd name="T66" fmla="*/ 428 w 481"/>
                <a:gd name="T67" fmla="*/ 14 h 371"/>
                <a:gd name="T68" fmla="*/ 469 w 481"/>
                <a:gd name="T69" fmla="*/ 11 h 371"/>
                <a:gd name="T70" fmla="*/ 475 w 481"/>
                <a:gd name="T71" fmla="*/ 20 h 371"/>
                <a:gd name="T72" fmla="*/ 481 w 481"/>
                <a:gd name="T73" fmla="*/ 38 h 371"/>
                <a:gd name="T74" fmla="*/ 481 w 481"/>
                <a:gd name="T75" fmla="*/ 53 h 371"/>
                <a:gd name="T76" fmla="*/ 475 w 481"/>
                <a:gd name="T77" fmla="*/ 71 h 371"/>
                <a:gd name="T78" fmla="*/ 472 w 481"/>
                <a:gd name="T79" fmla="*/ 82 h 371"/>
                <a:gd name="T80" fmla="*/ 457 w 481"/>
                <a:gd name="T81" fmla="*/ 112 h 371"/>
                <a:gd name="T82" fmla="*/ 448 w 481"/>
                <a:gd name="T83" fmla="*/ 124 h 371"/>
                <a:gd name="T84" fmla="*/ 437 w 481"/>
                <a:gd name="T85" fmla="*/ 135 h 371"/>
                <a:gd name="T86" fmla="*/ 422 w 481"/>
                <a:gd name="T87" fmla="*/ 132 h 371"/>
                <a:gd name="T88" fmla="*/ 419 w 481"/>
                <a:gd name="T89" fmla="*/ 150 h 371"/>
                <a:gd name="T90" fmla="*/ 392 w 481"/>
                <a:gd name="T91" fmla="*/ 156 h 371"/>
                <a:gd name="T92" fmla="*/ 369 w 481"/>
                <a:gd name="T93" fmla="*/ 168 h 371"/>
                <a:gd name="T94" fmla="*/ 354 w 481"/>
                <a:gd name="T95" fmla="*/ 180 h 371"/>
                <a:gd name="T96" fmla="*/ 336 w 481"/>
                <a:gd name="T97" fmla="*/ 186 h 371"/>
                <a:gd name="T98" fmla="*/ 321 w 481"/>
                <a:gd name="T99" fmla="*/ 203 h 371"/>
                <a:gd name="T100" fmla="*/ 301 w 481"/>
                <a:gd name="T101" fmla="*/ 206 h 371"/>
                <a:gd name="T102" fmla="*/ 286 w 481"/>
                <a:gd name="T103" fmla="*/ 194 h 371"/>
                <a:gd name="T104" fmla="*/ 274 w 481"/>
                <a:gd name="T105" fmla="*/ 203 h 371"/>
                <a:gd name="T106" fmla="*/ 268 w 481"/>
                <a:gd name="T107" fmla="*/ 224 h 371"/>
                <a:gd name="T108" fmla="*/ 280 w 481"/>
                <a:gd name="T109" fmla="*/ 242 h 371"/>
                <a:gd name="T110" fmla="*/ 316 w 481"/>
                <a:gd name="T111" fmla="*/ 256 h 371"/>
                <a:gd name="T112" fmla="*/ 348 w 481"/>
                <a:gd name="T113" fmla="*/ 256 h 371"/>
                <a:gd name="T114" fmla="*/ 336 w 481"/>
                <a:gd name="T115" fmla="*/ 271 h 371"/>
                <a:gd name="T116" fmla="*/ 351 w 481"/>
                <a:gd name="T117" fmla="*/ 283 h 371"/>
                <a:gd name="T118" fmla="*/ 375 w 481"/>
                <a:gd name="T119" fmla="*/ 298 h 371"/>
                <a:gd name="T120" fmla="*/ 377 w 481"/>
                <a:gd name="T121" fmla="*/ 315 h 371"/>
                <a:gd name="T122" fmla="*/ 389 w 481"/>
                <a:gd name="T123" fmla="*/ 330 h 371"/>
                <a:gd name="T124" fmla="*/ 372 w 481"/>
                <a:gd name="T125" fmla="*/ 342 h 3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1"/>
                <a:gd name="T190" fmla="*/ 0 h 371"/>
                <a:gd name="T191" fmla="*/ 481 w 481"/>
                <a:gd name="T192" fmla="*/ 371 h 3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1" h="371">
                  <a:moveTo>
                    <a:pt x="372" y="342"/>
                  </a:moveTo>
                  <a:lnTo>
                    <a:pt x="366" y="339"/>
                  </a:lnTo>
                  <a:lnTo>
                    <a:pt x="363" y="339"/>
                  </a:lnTo>
                  <a:lnTo>
                    <a:pt x="360" y="336"/>
                  </a:lnTo>
                  <a:lnTo>
                    <a:pt x="354" y="333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6" y="330"/>
                  </a:lnTo>
                  <a:lnTo>
                    <a:pt x="330" y="327"/>
                  </a:lnTo>
                  <a:lnTo>
                    <a:pt x="321" y="318"/>
                  </a:lnTo>
                  <a:lnTo>
                    <a:pt x="316" y="315"/>
                  </a:lnTo>
                  <a:lnTo>
                    <a:pt x="310" y="312"/>
                  </a:lnTo>
                  <a:lnTo>
                    <a:pt x="304" y="312"/>
                  </a:lnTo>
                  <a:lnTo>
                    <a:pt x="301" y="310"/>
                  </a:lnTo>
                  <a:lnTo>
                    <a:pt x="295" y="307"/>
                  </a:lnTo>
                  <a:lnTo>
                    <a:pt x="292" y="310"/>
                  </a:lnTo>
                  <a:lnTo>
                    <a:pt x="289" y="312"/>
                  </a:lnTo>
                  <a:lnTo>
                    <a:pt x="286" y="312"/>
                  </a:lnTo>
                  <a:lnTo>
                    <a:pt x="289" y="318"/>
                  </a:lnTo>
                  <a:lnTo>
                    <a:pt x="295" y="324"/>
                  </a:lnTo>
                  <a:lnTo>
                    <a:pt x="292" y="330"/>
                  </a:lnTo>
                  <a:lnTo>
                    <a:pt x="295" y="336"/>
                  </a:lnTo>
                  <a:lnTo>
                    <a:pt x="295" y="339"/>
                  </a:lnTo>
                  <a:lnTo>
                    <a:pt x="289" y="342"/>
                  </a:lnTo>
                  <a:lnTo>
                    <a:pt x="295" y="348"/>
                  </a:lnTo>
                  <a:lnTo>
                    <a:pt x="292" y="354"/>
                  </a:lnTo>
                  <a:lnTo>
                    <a:pt x="292" y="360"/>
                  </a:lnTo>
                  <a:lnTo>
                    <a:pt x="283" y="371"/>
                  </a:lnTo>
                  <a:lnTo>
                    <a:pt x="274" y="371"/>
                  </a:lnTo>
                  <a:lnTo>
                    <a:pt x="271" y="371"/>
                  </a:lnTo>
                  <a:lnTo>
                    <a:pt x="268" y="369"/>
                  </a:lnTo>
                  <a:lnTo>
                    <a:pt x="271" y="363"/>
                  </a:lnTo>
                  <a:lnTo>
                    <a:pt x="274" y="357"/>
                  </a:lnTo>
                  <a:lnTo>
                    <a:pt x="271" y="357"/>
                  </a:lnTo>
                  <a:lnTo>
                    <a:pt x="265" y="360"/>
                  </a:lnTo>
                  <a:lnTo>
                    <a:pt x="259" y="363"/>
                  </a:lnTo>
                  <a:lnTo>
                    <a:pt x="248" y="363"/>
                  </a:lnTo>
                  <a:lnTo>
                    <a:pt x="239" y="357"/>
                  </a:lnTo>
                  <a:lnTo>
                    <a:pt x="230" y="354"/>
                  </a:lnTo>
                  <a:lnTo>
                    <a:pt x="221" y="357"/>
                  </a:lnTo>
                  <a:lnTo>
                    <a:pt x="212" y="366"/>
                  </a:lnTo>
                  <a:lnTo>
                    <a:pt x="209" y="369"/>
                  </a:lnTo>
                  <a:lnTo>
                    <a:pt x="206" y="366"/>
                  </a:lnTo>
                  <a:lnTo>
                    <a:pt x="200" y="363"/>
                  </a:lnTo>
                  <a:lnTo>
                    <a:pt x="195" y="363"/>
                  </a:lnTo>
                  <a:lnTo>
                    <a:pt x="186" y="360"/>
                  </a:lnTo>
                  <a:lnTo>
                    <a:pt x="183" y="363"/>
                  </a:lnTo>
                  <a:lnTo>
                    <a:pt x="183" y="360"/>
                  </a:lnTo>
                  <a:lnTo>
                    <a:pt x="186" y="357"/>
                  </a:lnTo>
                  <a:lnTo>
                    <a:pt x="192" y="348"/>
                  </a:lnTo>
                  <a:lnTo>
                    <a:pt x="192" y="336"/>
                  </a:lnTo>
                  <a:lnTo>
                    <a:pt x="192" y="330"/>
                  </a:lnTo>
                  <a:lnTo>
                    <a:pt x="189" y="318"/>
                  </a:lnTo>
                  <a:lnTo>
                    <a:pt x="183" y="321"/>
                  </a:lnTo>
                  <a:lnTo>
                    <a:pt x="177" y="321"/>
                  </a:lnTo>
                  <a:lnTo>
                    <a:pt x="171" y="324"/>
                  </a:lnTo>
                  <a:lnTo>
                    <a:pt x="162" y="324"/>
                  </a:lnTo>
                  <a:lnTo>
                    <a:pt x="156" y="327"/>
                  </a:lnTo>
                  <a:lnTo>
                    <a:pt x="147" y="327"/>
                  </a:lnTo>
                  <a:lnTo>
                    <a:pt x="135" y="327"/>
                  </a:lnTo>
                  <a:lnTo>
                    <a:pt x="130" y="330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03" y="336"/>
                  </a:lnTo>
                  <a:lnTo>
                    <a:pt x="91" y="330"/>
                  </a:lnTo>
                  <a:lnTo>
                    <a:pt x="88" y="327"/>
                  </a:lnTo>
                  <a:lnTo>
                    <a:pt x="85" y="324"/>
                  </a:lnTo>
                  <a:lnTo>
                    <a:pt x="79" y="321"/>
                  </a:lnTo>
                  <a:lnTo>
                    <a:pt x="71" y="318"/>
                  </a:lnTo>
                  <a:lnTo>
                    <a:pt x="74" y="315"/>
                  </a:lnTo>
                  <a:lnTo>
                    <a:pt x="82" y="307"/>
                  </a:lnTo>
                  <a:lnTo>
                    <a:pt x="91" y="304"/>
                  </a:lnTo>
                  <a:lnTo>
                    <a:pt x="100" y="295"/>
                  </a:lnTo>
                  <a:lnTo>
                    <a:pt x="106" y="286"/>
                  </a:lnTo>
                  <a:lnTo>
                    <a:pt x="115" y="268"/>
                  </a:lnTo>
                  <a:lnTo>
                    <a:pt x="112" y="268"/>
                  </a:lnTo>
                  <a:lnTo>
                    <a:pt x="103" y="271"/>
                  </a:lnTo>
                  <a:lnTo>
                    <a:pt x="97" y="268"/>
                  </a:lnTo>
                  <a:lnTo>
                    <a:pt x="91" y="265"/>
                  </a:lnTo>
                  <a:lnTo>
                    <a:pt x="91" y="268"/>
                  </a:lnTo>
                  <a:lnTo>
                    <a:pt x="85" y="268"/>
                  </a:lnTo>
                  <a:lnTo>
                    <a:pt x="85" y="262"/>
                  </a:lnTo>
                  <a:lnTo>
                    <a:pt x="82" y="259"/>
                  </a:lnTo>
                  <a:lnTo>
                    <a:pt x="76" y="253"/>
                  </a:lnTo>
                  <a:lnTo>
                    <a:pt x="76" y="251"/>
                  </a:lnTo>
                  <a:lnTo>
                    <a:pt x="79" y="245"/>
                  </a:lnTo>
                  <a:lnTo>
                    <a:pt x="79" y="239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1" y="230"/>
                  </a:lnTo>
                  <a:lnTo>
                    <a:pt x="68" y="224"/>
                  </a:lnTo>
                  <a:lnTo>
                    <a:pt x="68" y="218"/>
                  </a:lnTo>
                  <a:lnTo>
                    <a:pt x="74" y="215"/>
                  </a:lnTo>
                  <a:lnTo>
                    <a:pt x="74" y="203"/>
                  </a:lnTo>
                  <a:lnTo>
                    <a:pt x="65" y="200"/>
                  </a:lnTo>
                  <a:lnTo>
                    <a:pt x="65" y="203"/>
                  </a:lnTo>
                  <a:lnTo>
                    <a:pt x="62" y="209"/>
                  </a:lnTo>
                  <a:lnTo>
                    <a:pt x="59" y="209"/>
                  </a:lnTo>
                  <a:lnTo>
                    <a:pt x="50" y="209"/>
                  </a:lnTo>
                  <a:lnTo>
                    <a:pt x="44" y="203"/>
                  </a:lnTo>
                  <a:lnTo>
                    <a:pt x="38" y="194"/>
                  </a:lnTo>
                  <a:lnTo>
                    <a:pt x="35" y="189"/>
                  </a:lnTo>
                  <a:lnTo>
                    <a:pt x="29" y="177"/>
                  </a:lnTo>
                  <a:lnTo>
                    <a:pt x="23" y="174"/>
                  </a:lnTo>
                  <a:lnTo>
                    <a:pt x="20" y="168"/>
                  </a:lnTo>
                  <a:lnTo>
                    <a:pt x="17" y="159"/>
                  </a:lnTo>
                  <a:lnTo>
                    <a:pt x="14" y="156"/>
                  </a:lnTo>
                  <a:lnTo>
                    <a:pt x="9" y="150"/>
                  </a:lnTo>
                  <a:lnTo>
                    <a:pt x="0" y="144"/>
                  </a:lnTo>
                  <a:lnTo>
                    <a:pt x="3" y="141"/>
                  </a:lnTo>
                  <a:lnTo>
                    <a:pt x="3" y="135"/>
                  </a:lnTo>
                  <a:lnTo>
                    <a:pt x="6" y="127"/>
                  </a:lnTo>
                  <a:lnTo>
                    <a:pt x="9" y="118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14" y="100"/>
                  </a:lnTo>
                  <a:lnTo>
                    <a:pt x="17" y="100"/>
                  </a:lnTo>
                  <a:lnTo>
                    <a:pt x="29" y="109"/>
                  </a:lnTo>
                  <a:lnTo>
                    <a:pt x="71" y="106"/>
                  </a:lnTo>
                  <a:lnTo>
                    <a:pt x="76" y="97"/>
                  </a:lnTo>
                  <a:lnTo>
                    <a:pt x="85" y="103"/>
                  </a:lnTo>
                  <a:lnTo>
                    <a:pt x="94" y="115"/>
                  </a:lnTo>
                  <a:lnTo>
                    <a:pt x="106" y="106"/>
                  </a:lnTo>
                  <a:lnTo>
                    <a:pt x="115" y="112"/>
                  </a:lnTo>
                  <a:lnTo>
                    <a:pt x="115" y="124"/>
                  </a:lnTo>
                  <a:lnTo>
                    <a:pt x="127" y="132"/>
                  </a:lnTo>
                  <a:lnTo>
                    <a:pt x="138" y="132"/>
                  </a:lnTo>
                  <a:lnTo>
                    <a:pt x="141" y="121"/>
                  </a:lnTo>
                  <a:lnTo>
                    <a:pt x="150" y="121"/>
                  </a:lnTo>
                  <a:lnTo>
                    <a:pt x="156" y="109"/>
                  </a:lnTo>
                  <a:lnTo>
                    <a:pt x="162" y="109"/>
                  </a:lnTo>
                  <a:lnTo>
                    <a:pt x="168" y="115"/>
                  </a:lnTo>
                  <a:lnTo>
                    <a:pt x="171" y="124"/>
                  </a:lnTo>
                  <a:lnTo>
                    <a:pt x="180" y="124"/>
                  </a:lnTo>
                  <a:lnTo>
                    <a:pt x="189" y="118"/>
                  </a:lnTo>
                  <a:lnTo>
                    <a:pt x="203" y="118"/>
                  </a:lnTo>
                  <a:lnTo>
                    <a:pt x="209" y="109"/>
                  </a:lnTo>
                  <a:lnTo>
                    <a:pt x="230" y="106"/>
                  </a:lnTo>
                  <a:lnTo>
                    <a:pt x="236" y="97"/>
                  </a:lnTo>
                  <a:lnTo>
                    <a:pt x="245" y="91"/>
                  </a:lnTo>
                  <a:lnTo>
                    <a:pt x="251" y="71"/>
                  </a:lnTo>
                  <a:lnTo>
                    <a:pt x="262" y="73"/>
                  </a:lnTo>
                  <a:lnTo>
                    <a:pt x="265" y="76"/>
                  </a:lnTo>
                  <a:lnTo>
                    <a:pt x="274" y="76"/>
                  </a:lnTo>
                  <a:lnTo>
                    <a:pt x="283" y="73"/>
                  </a:lnTo>
                  <a:lnTo>
                    <a:pt x="292" y="85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10" y="97"/>
                  </a:lnTo>
                  <a:lnTo>
                    <a:pt x="310" y="112"/>
                  </a:lnTo>
                  <a:lnTo>
                    <a:pt x="321" y="118"/>
                  </a:lnTo>
                  <a:lnTo>
                    <a:pt x="330" y="112"/>
                  </a:lnTo>
                  <a:lnTo>
                    <a:pt x="330" y="103"/>
                  </a:lnTo>
                  <a:lnTo>
                    <a:pt x="339" y="91"/>
                  </a:lnTo>
                  <a:lnTo>
                    <a:pt x="345" y="94"/>
                  </a:lnTo>
                  <a:lnTo>
                    <a:pt x="345" y="100"/>
                  </a:lnTo>
                  <a:lnTo>
                    <a:pt x="354" y="97"/>
                  </a:lnTo>
                  <a:lnTo>
                    <a:pt x="357" y="88"/>
                  </a:lnTo>
                  <a:lnTo>
                    <a:pt x="369" y="97"/>
                  </a:lnTo>
                  <a:lnTo>
                    <a:pt x="375" y="97"/>
                  </a:lnTo>
                  <a:lnTo>
                    <a:pt x="375" y="85"/>
                  </a:lnTo>
                  <a:lnTo>
                    <a:pt x="383" y="85"/>
                  </a:lnTo>
                  <a:lnTo>
                    <a:pt x="383" y="65"/>
                  </a:lnTo>
                  <a:lnTo>
                    <a:pt x="392" y="59"/>
                  </a:lnTo>
                  <a:lnTo>
                    <a:pt x="392" y="35"/>
                  </a:lnTo>
                  <a:lnTo>
                    <a:pt x="401" y="35"/>
                  </a:lnTo>
                  <a:lnTo>
                    <a:pt x="407" y="23"/>
                  </a:lnTo>
                  <a:lnTo>
                    <a:pt x="410" y="17"/>
                  </a:lnTo>
                  <a:lnTo>
                    <a:pt x="428" y="14"/>
                  </a:lnTo>
                  <a:lnTo>
                    <a:pt x="428" y="0"/>
                  </a:lnTo>
                  <a:lnTo>
                    <a:pt x="439" y="0"/>
                  </a:lnTo>
                  <a:lnTo>
                    <a:pt x="460" y="14"/>
                  </a:lnTo>
                  <a:lnTo>
                    <a:pt x="466" y="9"/>
                  </a:lnTo>
                  <a:lnTo>
                    <a:pt x="469" y="11"/>
                  </a:lnTo>
                  <a:lnTo>
                    <a:pt x="469" y="14"/>
                  </a:lnTo>
                  <a:lnTo>
                    <a:pt x="469" y="11"/>
                  </a:lnTo>
                  <a:lnTo>
                    <a:pt x="472" y="14"/>
                  </a:lnTo>
                  <a:lnTo>
                    <a:pt x="475" y="17"/>
                  </a:lnTo>
                  <a:lnTo>
                    <a:pt x="475" y="20"/>
                  </a:lnTo>
                  <a:lnTo>
                    <a:pt x="478" y="20"/>
                  </a:lnTo>
                  <a:lnTo>
                    <a:pt x="478" y="26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8"/>
                  </a:lnTo>
                  <a:lnTo>
                    <a:pt x="478" y="38"/>
                  </a:lnTo>
                  <a:lnTo>
                    <a:pt x="472" y="41"/>
                  </a:lnTo>
                  <a:lnTo>
                    <a:pt x="472" y="47"/>
                  </a:lnTo>
                  <a:lnTo>
                    <a:pt x="478" y="50"/>
                  </a:lnTo>
                  <a:lnTo>
                    <a:pt x="481" y="53"/>
                  </a:lnTo>
                  <a:lnTo>
                    <a:pt x="481" y="56"/>
                  </a:lnTo>
                  <a:lnTo>
                    <a:pt x="478" y="62"/>
                  </a:lnTo>
                  <a:lnTo>
                    <a:pt x="481" y="65"/>
                  </a:lnTo>
                  <a:lnTo>
                    <a:pt x="481" y="68"/>
                  </a:lnTo>
                  <a:lnTo>
                    <a:pt x="475" y="71"/>
                  </a:lnTo>
                  <a:lnTo>
                    <a:pt x="472" y="68"/>
                  </a:lnTo>
                  <a:lnTo>
                    <a:pt x="469" y="68"/>
                  </a:lnTo>
                  <a:lnTo>
                    <a:pt x="472" y="73"/>
                  </a:lnTo>
                  <a:lnTo>
                    <a:pt x="472" y="79"/>
                  </a:lnTo>
                  <a:lnTo>
                    <a:pt x="472" y="82"/>
                  </a:lnTo>
                  <a:lnTo>
                    <a:pt x="472" y="88"/>
                  </a:lnTo>
                  <a:lnTo>
                    <a:pt x="472" y="91"/>
                  </a:lnTo>
                  <a:lnTo>
                    <a:pt x="460" y="106"/>
                  </a:lnTo>
                  <a:lnTo>
                    <a:pt x="457" y="109"/>
                  </a:lnTo>
                  <a:lnTo>
                    <a:pt x="457" y="112"/>
                  </a:lnTo>
                  <a:lnTo>
                    <a:pt x="463" y="115"/>
                  </a:lnTo>
                  <a:lnTo>
                    <a:pt x="457" y="118"/>
                  </a:lnTo>
                  <a:lnTo>
                    <a:pt x="454" y="121"/>
                  </a:lnTo>
                  <a:lnTo>
                    <a:pt x="451" y="124"/>
                  </a:lnTo>
                  <a:lnTo>
                    <a:pt x="448" y="124"/>
                  </a:lnTo>
                  <a:lnTo>
                    <a:pt x="445" y="124"/>
                  </a:lnTo>
                  <a:lnTo>
                    <a:pt x="442" y="127"/>
                  </a:lnTo>
                  <a:lnTo>
                    <a:pt x="442" y="130"/>
                  </a:lnTo>
                  <a:lnTo>
                    <a:pt x="442" y="132"/>
                  </a:lnTo>
                  <a:lnTo>
                    <a:pt x="437" y="135"/>
                  </a:lnTo>
                  <a:lnTo>
                    <a:pt x="434" y="138"/>
                  </a:lnTo>
                  <a:lnTo>
                    <a:pt x="431" y="135"/>
                  </a:lnTo>
                  <a:lnTo>
                    <a:pt x="428" y="138"/>
                  </a:lnTo>
                  <a:lnTo>
                    <a:pt x="425" y="135"/>
                  </a:lnTo>
                  <a:lnTo>
                    <a:pt x="422" y="132"/>
                  </a:lnTo>
                  <a:lnTo>
                    <a:pt x="416" y="132"/>
                  </a:lnTo>
                  <a:lnTo>
                    <a:pt x="416" y="138"/>
                  </a:lnTo>
                  <a:lnTo>
                    <a:pt x="419" y="141"/>
                  </a:lnTo>
                  <a:lnTo>
                    <a:pt x="422" y="144"/>
                  </a:lnTo>
                  <a:lnTo>
                    <a:pt x="419" y="150"/>
                  </a:lnTo>
                  <a:lnTo>
                    <a:pt x="413" y="150"/>
                  </a:lnTo>
                  <a:lnTo>
                    <a:pt x="410" y="156"/>
                  </a:lnTo>
                  <a:lnTo>
                    <a:pt x="407" y="159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83" y="156"/>
                  </a:lnTo>
                  <a:lnTo>
                    <a:pt x="377" y="156"/>
                  </a:lnTo>
                  <a:lnTo>
                    <a:pt x="372" y="159"/>
                  </a:lnTo>
                  <a:lnTo>
                    <a:pt x="372" y="165"/>
                  </a:lnTo>
                  <a:lnTo>
                    <a:pt x="369" y="168"/>
                  </a:lnTo>
                  <a:lnTo>
                    <a:pt x="372" y="168"/>
                  </a:lnTo>
                  <a:lnTo>
                    <a:pt x="369" y="174"/>
                  </a:lnTo>
                  <a:lnTo>
                    <a:pt x="366" y="174"/>
                  </a:lnTo>
                  <a:lnTo>
                    <a:pt x="357" y="177"/>
                  </a:lnTo>
                  <a:lnTo>
                    <a:pt x="354" y="180"/>
                  </a:lnTo>
                  <a:lnTo>
                    <a:pt x="348" y="183"/>
                  </a:lnTo>
                  <a:lnTo>
                    <a:pt x="345" y="186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6" y="186"/>
                  </a:lnTo>
                  <a:lnTo>
                    <a:pt x="333" y="186"/>
                  </a:lnTo>
                  <a:lnTo>
                    <a:pt x="324" y="189"/>
                  </a:lnTo>
                  <a:lnTo>
                    <a:pt x="321" y="194"/>
                  </a:lnTo>
                  <a:lnTo>
                    <a:pt x="324" y="200"/>
                  </a:lnTo>
                  <a:lnTo>
                    <a:pt x="321" y="203"/>
                  </a:lnTo>
                  <a:lnTo>
                    <a:pt x="318" y="209"/>
                  </a:lnTo>
                  <a:lnTo>
                    <a:pt x="316" y="209"/>
                  </a:lnTo>
                  <a:lnTo>
                    <a:pt x="310" y="209"/>
                  </a:lnTo>
                  <a:lnTo>
                    <a:pt x="307" y="206"/>
                  </a:lnTo>
                  <a:lnTo>
                    <a:pt x="301" y="206"/>
                  </a:lnTo>
                  <a:lnTo>
                    <a:pt x="301" y="200"/>
                  </a:lnTo>
                  <a:lnTo>
                    <a:pt x="295" y="194"/>
                  </a:lnTo>
                  <a:lnTo>
                    <a:pt x="292" y="191"/>
                  </a:lnTo>
                  <a:lnTo>
                    <a:pt x="289" y="191"/>
                  </a:lnTo>
                  <a:lnTo>
                    <a:pt x="286" y="194"/>
                  </a:lnTo>
                  <a:lnTo>
                    <a:pt x="286" y="197"/>
                  </a:lnTo>
                  <a:lnTo>
                    <a:pt x="289" y="203"/>
                  </a:lnTo>
                  <a:lnTo>
                    <a:pt x="283" y="203"/>
                  </a:lnTo>
                  <a:lnTo>
                    <a:pt x="277" y="203"/>
                  </a:lnTo>
                  <a:lnTo>
                    <a:pt x="274" y="203"/>
                  </a:lnTo>
                  <a:lnTo>
                    <a:pt x="268" y="206"/>
                  </a:lnTo>
                  <a:lnTo>
                    <a:pt x="265" y="209"/>
                  </a:lnTo>
                  <a:lnTo>
                    <a:pt x="268" y="215"/>
                  </a:lnTo>
                  <a:lnTo>
                    <a:pt x="268" y="218"/>
                  </a:lnTo>
                  <a:lnTo>
                    <a:pt x="268" y="224"/>
                  </a:lnTo>
                  <a:lnTo>
                    <a:pt x="268" y="230"/>
                  </a:lnTo>
                  <a:lnTo>
                    <a:pt x="268" y="236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80" y="242"/>
                  </a:lnTo>
                  <a:lnTo>
                    <a:pt x="289" y="245"/>
                  </a:lnTo>
                  <a:lnTo>
                    <a:pt x="295" y="248"/>
                  </a:lnTo>
                  <a:lnTo>
                    <a:pt x="301" y="251"/>
                  </a:lnTo>
                  <a:lnTo>
                    <a:pt x="310" y="256"/>
                  </a:lnTo>
                  <a:lnTo>
                    <a:pt x="316" y="256"/>
                  </a:lnTo>
                  <a:lnTo>
                    <a:pt x="321" y="256"/>
                  </a:lnTo>
                  <a:lnTo>
                    <a:pt x="333" y="259"/>
                  </a:lnTo>
                  <a:lnTo>
                    <a:pt x="339" y="256"/>
                  </a:lnTo>
                  <a:lnTo>
                    <a:pt x="345" y="256"/>
                  </a:lnTo>
                  <a:lnTo>
                    <a:pt x="348" y="256"/>
                  </a:lnTo>
                  <a:lnTo>
                    <a:pt x="345" y="262"/>
                  </a:lnTo>
                  <a:lnTo>
                    <a:pt x="339" y="262"/>
                  </a:lnTo>
                  <a:lnTo>
                    <a:pt x="336" y="262"/>
                  </a:lnTo>
                  <a:lnTo>
                    <a:pt x="336" y="268"/>
                  </a:lnTo>
                  <a:lnTo>
                    <a:pt x="336" y="271"/>
                  </a:lnTo>
                  <a:lnTo>
                    <a:pt x="336" y="277"/>
                  </a:lnTo>
                  <a:lnTo>
                    <a:pt x="339" y="286"/>
                  </a:lnTo>
                  <a:lnTo>
                    <a:pt x="342" y="286"/>
                  </a:lnTo>
                  <a:lnTo>
                    <a:pt x="351" y="286"/>
                  </a:lnTo>
                  <a:lnTo>
                    <a:pt x="351" y="283"/>
                  </a:lnTo>
                  <a:lnTo>
                    <a:pt x="354" y="286"/>
                  </a:lnTo>
                  <a:lnTo>
                    <a:pt x="357" y="292"/>
                  </a:lnTo>
                  <a:lnTo>
                    <a:pt x="360" y="295"/>
                  </a:lnTo>
                  <a:lnTo>
                    <a:pt x="369" y="298"/>
                  </a:lnTo>
                  <a:lnTo>
                    <a:pt x="375" y="298"/>
                  </a:lnTo>
                  <a:lnTo>
                    <a:pt x="377" y="301"/>
                  </a:lnTo>
                  <a:lnTo>
                    <a:pt x="375" y="304"/>
                  </a:lnTo>
                  <a:lnTo>
                    <a:pt x="372" y="307"/>
                  </a:lnTo>
                  <a:lnTo>
                    <a:pt x="372" y="312"/>
                  </a:lnTo>
                  <a:lnTo>
                    <a:pt x="377" y="315"/>
                  </a:lnTo>
                  <a:lnTo>
                    <a:pt x="383" y="315"/>
                  </a:lnTo>
                  <a:lnTo>
                    <a:pt x="383" y="321"/>
                  </a:lnTo>
                  <a:lnTo>
                    <a:pt x="383" y="324"/>
                  </a:lnTo>
                  <a:lnTo>
                    <a:pt x="389" y="327"/>
                  </a:lnTo>
                  <a:lnTo>
                    <a:pt x="389" y="330"/>
                  </a:lnTo>
                  <a:lnTo>
                    <a:pt x="386" y="333"/>
                  </a:lnTo>
                  <a:lnTo>
                    <a:pt x="383" y="333"/>
                  </a:lnTo>
                  <a:lnTo>
                    <a:pt x="377" y="336"/>
                  </a:lnTo>
                  <a:lnTo>
                    <a:pt x="375" y="339"/>
                  </a:lnTo>
                  <a:lnTo>
                    <a:pt x="372" y="34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Freeform 137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460834" y="1467994"/>
              <a:ext cx="66917" cy="112519"/>
            </a:xfrm>
            <a:custGeom>
              <a:avLst/>
              <a:gdLst>
                <a:gd name="T0" fmla="*/ 110 w 405"/>
                <a:gd name="T1" fmla="*/ 528 h 634"/>
                <a:gd name="T2" fmla="*/ 80 w 405"/>
                <a:gd name="T3" fmla="*/ 486 h 634"/>
                <a:gd name="T4" fmla="*/ 3 w 405"/>
                <a:gd name="T5" fmla="*/ 445 h 634"/>
                <a:gd name="T6" fmla="*/ 51 w 405"/>
                <a:gd name="T7" fmla="*/ 439 h 634"/>
                <a:gd name="T8" fmla="*/ 107 w 405"/>
                <a:gd name="T9" fmla="*/ 398 h 634"/>
                <a:gd name="T10" fmla="*/ 157 w 405"/>
                <a:gd name="T11" fmla="*/ 362 h 634"/>
                <a:gd name="T12" fmla="*/ 192 w 405"/>
                <a:gd name="T13" fmla="*/ 339 h 634"/>
                <a:gd name="T14" fmla="*/ 207 w 405"/>
                <a:gd name="T15" fmla="*/ 277 h 634"/>
                <a:gd name="T16" fmla="*/ 198 w 405"/>
                <a:gd name="T17" fmla="*/ 233 h 634"/>
                <a:gd name="T18" fmla="*/ 222 w 405"/>
                <a:gd name="T19" fmla="*/ 182 h 634"/>
                <a:gd name="T20" fmla="*/ 219 w 405"/>
                <a:gd name="T21" fmla="*/ 118 h 634"/>
                <a:gd name="T22" fmla="*/ 225 w 405"/>
                <a:gd name="T23" fmla="*/ 61 h 634"/>
                <a:gd name="T24" fmla="*/ 207 w 405"/>
                <a:gd name="T25" fmla="*/ 20 h 634"/>
                <a:gd name="T26" fmla="*/ 254 w 405"/>
                <a:gd name="T27" fmla="*/ 8 h 634"/>
                <a:gd name="T28" fmla="*/ 295 w 405"/>
                <a:gd name="T29" fmla="*/ 20 h 634"/>
                <a:gd name="T30" fmla="*/ 325 w 405"/>
                <a:gd name="T31" fmla="*/ 38 h 634"/>
                <a:gd name="T32" fmla="*/ 366 w 405"/>
                <a:gd name="T33" fmla="*/ 35 h 634"/>
                <a:gd name="T34" fmla="*/ 399 w 405"/>
                <a:gd name="T35" fmla="*/ 44 h 634"/>
                <a:gd name="T36" fmla="*/ 390 w 405"/>
                <a:gd name="T37" fmla="*/ 106 h 634"/>
                <a:gd name="T38" fmla="*/ 381 w 405"/>
                <a:gd name="T39" fmla="*/ 126 h 634"/>
                <a:gd name="T40" fmla="*/ 346 w 405"/>
                <a:gd name="T41" fmla="*/ 120 h 634"/>
                <a:gd name="T42" fmla="*/ 328 w 405"/>
                <a:gd name="T43" fmla="*/ 88 h 634"/>
                <a:gd name="T44" fmla="*/ 313 w 405"/>
                <a:gd name="T45" fmla="*/ 91 h 634"/>
                <a:gd name="T46" fmla="*/ 307 w 405"/>
                <a:gd name="T47" fmla="*/ 100 h 634"/>
                <a:gd name="T48" fmla="*/ 275 w 405"/>
                <a:gd name="T49" fmla="*/ 82 h 634"/>
                <a:gd name="T50" fmla="*/ 254 w 405"/>
                <a:gd name="T51" fmla="*/ 82 h 634"/>
                <a:gd name="T52" fmla="*/ 245 w 405"/>
                <a:gd name="T53" fmla="*/ 115 h 634"/>
                <a:gd name="T54" fmla="*/ 228 w 405"/>
                <a:gd name="T55" fmla="*/ 156 h 634"/>
                <a:gd name="T56" fmla="*/ 260 w 405"/>
                <a:gd name="T57" fmla="*/ 174 h 634"/>
                <a:gd name="T58" fmla="*/ 293 w 405"/>
                <a:gd name="T59" fmla="*/ 194 h 634"/>
                <a:gd name="T60" fmla="*/ 310 w 405"/>
                <a:gd name="T61" fmla="*/ 203 h 634"/>
                <a:gd name="T62" fmla="*/ 313 w 405"/>
                <a:gd name="T63" fmla="*/ 224 h 634"/>
                <a:gd name="T64" fmla="*/ 275 w 405"/>
                <a:gd name="T65" fmla="*/ 227 h 634"/>
                <a:gd name="T66" fmla="*/ 266 w 405"/>
                <a:gd name="T67" fmla="*/ 256 h 634"/>
                <a:gd name="T68" fmla="*/ 239 w 405"/>
                <a:gd name="T69" fmla="*/ 262 h 634"/>
                <a:gd name="T70" fmla="*/ 236 w 405"/>
                <a:gd name="T71" fmla="*/ 301 h 634"/>
                <a:gd name="T72" fmla="*/ 298 w 405"/>
                <a:gd name="T73" fmla="*/ 324 h 634"/>
                <a:gd name="T74" fmla="*/ 313 w 405"/>
                <a:gd name="T75" fmla="*/ 342 h 634"/>
                <a:gd name="T76" fmla="*/ 313 w 405"/>
                <a:gd name="T77" fmla="*/ 357 h 634"/>
                <a:gd name="T78" fmla="*/ 298 w 405"/>
                <a:gd name="T79" fmla="*/ 377 h 634"/>
                <a:gd name="T80" fmla="*/ 298 w 405"/>
                <a:gd name="T81" fmla="*/ 404 h 634"/>
                <a:gd name="T82" fmla="*/ 319 w 405"/>
                <a:gd name="T83" fmla="*/ 419 h 634"/>
                <a:gd name="T84" fmla="*/ 316 w 405"/>
                <a:gd name="T85" fmla="*/ 439 h 634"/>
                <a:gd name="T86" fmla="*/ 343 w 405"/>
                <a:gd name="T87" fmla="*/ 448 h 634"/>
                <a:gd name="T88" fmla="*/ 334 w 405"/>
                <a:gd name="T89" fmla="*/ 475 h 634"/>
                <a:gd name="T90" fmla="*/ 346 w 405"/>
                <a:gd name="T91" fmla="*/ 498 h 634"/>
                <a:gd name="T92" fmla="*/ 352 w 405"/>
                <a:gd name="T93" fmla="*/ 525 h 634"/>
                <a:gd name="T94" fmla="*/ 363 w 405"/>
                <a:gd name="T95" fmla="*/ 560 h 634"/>
                <a:gd name="T96" fmla="*/ 349 w 405"/>
                <a:gd name="T97" fmla="*/ 572 h 634"/>
                <a:gd name="T98" fmla="*/ 346 w 405"/>
                <a:gd name="T99" fmla="*/ 619 h 634"/>
                <a:gd name="T100" fmla="*/ 331 w 405"/>
                <a:gd name="T101" fmla="*/ 575 h 634"/>
                <a:gd name="T102" fmla="*/ 319 w 405"/>
                <a:gd name="T103" fmla="*/ 575 h 634"/>
                <a:gd name="T104" fmla="*/ 313 w 405"/>
                <a:gd name="T105" fmla="*/ 587 h 634"/>
                <a:gd name="T106" fmla="*/ 301 w 405"/>
                <a:gd name="T107" fmla="*/ 625 h 634"/>
                <a:gd name="T108" fmla="*/ 281 w 405"/>
                <a:gd name="T109" fmla="*/ 607 h 634"/>
                <a:gd name="T110" fmla="*/ 269 w 405"/>
                <a:gd name="T111" fmla="*/ 596 h 634"/>
                <a:gd name="T112" fmla="*/ 233 w 405"/>
                <a:gd name="T113" fmla="*/ 540 h 634"/>
                <a:gd name="T114" fmla="*/ 260 w 405"/>
                <a:gd name="T115" fmla="*/ 584 h 634"/>
                <a:gd name="T116" fmla="*/ 236 w 405"/>
                <a:gd name="T117" fmla="*/ 619 h 634"/>
                <a:gd name="T118" fmla="*/ 169 w 405"/>
                <a:gd name="T119" fmla="*/ 610 h 634"/>
                <a:gd name="T120" fmla="*/ 130 w 405"/>
                <a:gd name="T121" fmla="*/ 581 h 6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5"/>
                <a:gd name="T184" fmla="*/ 0 h 634"/>
                <a:gd name="T185" fmla="*/ 405 w 405"/>
                <a:gd name="T186" fmla="*/ 634 h 6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5" h="634">
                  <a:moveTo>
                    <a:pt x="107" y="572"/>
                  </a:moveTo>
                  <a:lnTo>
                    <a:pt x="110" y="569"/>
                  </a:lnTo>
                  <a:lnTo>
                    <a:pt x="112" y="566"/>
                  </a:lnTo>
                  <a:lnTo>
                    <a:pt x="118" y="563"/>
                  </a:lnTo>
                  <a:lnTo>
                    <a:pt x="121" y="563"/>
                  </a:lnTo>
                  <a:lnTo>
                    <a:pt x="124" y="560"/>
                  </a:lnTo>
                  <a:lnTo>
                    <a:pt x="124" y="557"/>
                  </a:lnTo>
                  <a:lnTo>
                    <a:pt x="118" y="554"/>
                  </a:lnTo>
                  <a:lnTo>
                    <a:pt x="118" y="551"/>
                  </a:lnTo>
                  <a:lnTo>
                    <a:pt x="118" y="545"/>
                  </a:lnTo>
                  <a:lnTo>
                    <a:pt x="112" y="545"/>
                  </a:lnTo>
                  <a:lnTo>
                    <a:pt x="107" y="542"/>
                  </a:lnTo>
                  <a:lnTo>
                    <a:pt x="107" y="537"/>
                  </a:lnTo>
                  <a:lnTo>
                    <a:pt x="110" y="534"/>
                  </a:lnTo>
                  <a:lnTo>
                    <a:pt x="112" y="531"/>
                  </a:lnTo>
                  <a:lnTo>
                    <a:pt x="110" y="528"/>
                  </a:lnTo>
                  <a:lnTo>
                    <a:pt x="104" y="528"/>
                  </a:lnTo>
                  <a:lnTo>
                    <a:pt x="95" y="525"/>
                  </a:lnTo>
                  <a:lnTo>
                    <a:pt x="92" y="522"/>
                  </a:lnTo>
                  <a:lnTo>
                    <a:pt x="89" y="516"/>
                  </a:lnTo>
                  <a:lnTo>
                    <a:pt x="86" y="513"/>
                  </a:lnTo>
                  <a:lnTo>
                    <a:pt x="86" y="516"/>
                  </a:lnTo>
                  <a:lnTo>
                    <a:pt x="77" y="516"/>
                  </a:lnTo>
                  <a:lnTo>
                    <a:pt x="74" y="516"/>
                  </a:lnTo>
                  <a:lnTo>
                    <a:pt x="71" y="507"/>
                  </a:lnTo>
                  <a:lnTo>
                    <a:pt x="71" y="501"/>
                  </a:lnTo>
                  <a:lnTo>
                    <a:pt x="71" y="498"/>
                  </a:lnTo>
                  <a:lnTo>
                    <a:pt x="71" y="492"/>
                  </a:lnTo>
                  <a:lnTo>
                    <a:pt x="74" y="492"/>
                  </a:lnTo>
                  <a:lnTo>
                    <a:pt x="80" y="492"/>
                  </a:lnTo>
                  <a:lnTo>
                    <a:pt x="83" y="486"/>
                  </a:lnTo>
                  <a:lnTo>
                    <a:pt x="80" y="486"/>
                  </a:lnTo>
                  <a:lnTo>
                    <a:pt x="74" y="486"/>
                  </a:lnTo>
                  <a:lnTo>
                    <a:pt x="68" y="489"/>
                  </a:lnTo>
                  <a:lnTo>
                    <a:pt x="56" y="486"/>
                  </a:lnTo>
                  <a:lnTo>
                    <a:pt x="51" y="486"/>
                  </a:lnTo>
                  <a:lnTo>
                    <a:pt x="45" y="486"/>
                  </a:lnTo>
                  <a:lnTo>
                    <a:pt x="36" y="481"/>
                  </a:lnTo>
                  <a:lnTo>
                    <a:pt x="30" y="478"/>
                  </a:lnTo>
                  <a:lnTo>
                    <a:pt x="24" y="475"/>
                  </a:lnTo>
                  <a:lnTo>
                    <a:pt x="15" y="472"/>
                  </a:lnTo>
                  <a:lnTo>
                    <a:pt x="9" y="472"/>
                  </a:lnTo>
                  <a:lnTo>
                    <a:pt x="6" y="472"/>
                  </a:lnTo>
                  <a:lnTo>
                    <a:pt x="3" y="466"/>
                  </a:lnTo>
                  <a:lnTo>
                    <a:pt x="3" y="460"/>
                  </a:lnTo>
                  <a:lnTo>
                    <a:pt x="3" y="454"/>
                  </a:lnTo>
                  <a:lnTo>
                    <a:pt x="3" y="448"/>
                  </a:lnTo>
                  <a:lnTo>
                    <a:pt x="3" y="445"/>
                  </a:lnTo>
                  <a:lnTo>
                    <a:pt x="0" y="439"/>
                  </a:lnTo>
                  <a:lnTo>
                    <a:pt x="3" y="436"/>
                  </a:lnTo>
                  <a:lnTo>
                    <a:pt x="9" y="433"/>
                  </a:lnTo>
                  <a:lnTo>
                    <a:pt x="12" y="433"/>
                  </a:lnTo>
                  <a:lnTo>
                    <a:pt x="18" y="433"/>
                  </a:lnTo>
                  <a:lnTo>
                    <a:pt x="24" y="433"/>
                  </a:lnTo>
                  <a:lnTo>
                    <a:pt x="21" y="427"/>
                  </a:lnTo>
                  <a:lnTo>
                    <a:pt x="21" y="424"/>
                  </a:lnTo>
                  <a:lnTo>
                    <a:pt x="24" y="421"/>
                  </a:lnTo>
                  <a:lnTo>
                    <a:pt x="27" y="421"/>
                  </a:lnTo>
                  <a:lnTo>
                    <a:pt x="30" y="424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42" y="436"/>
                  </a:lnTo>
                  <a:lnTo>
                    <a:pt x="45" y="439"/>
                  </a:lnTo>
                  <a:lnTo>
                    <a:pt x="51" y="439"/>
                  </a:lnTo>
                  <a:lnTo>
                    <a:pt x="53" y="439"/>
                  </a:lnTo>
                  <a:lnTo>
                    <a:pt x="56" y="433"/>
                  </a:lnTo>
                  <a:lnTo>
                    <a:pt x="59" y="430"/>
                  </a:lnTo>
                  <a:lnTo>
                    <a:pt x="56" y="424"/>
                  </a:lnTo>
                  <a:lnTo>
                    <a:pt x="59" y="419"/>
                  </a:lnTo>
                  <a:lnTo>
                    <a:pt x="68" y="416"/>
                  </a:lnTo>
                  <a:lnTo>
                    <a:pt x="71" y="416"/>
                  </a:lnTo>
                  <a:lnTo>
                    <a:pt x="74" y="416"/>
                  </a:lnTo>
                  <a:lnTo>
                    <a:pt x="77" y="416"/>
                  </a:lnTo>
                  <a:lnTo>
                    <a:pt x="80" y="416"/>
                  </a:lnTo>
                  <a:lnTo>
                    <a:pt x="83" y="413"/>
                  </a:lnTo>
                  <a:lnTo>
                    <a:pt x="89" y="410"/>
                  </a:lnTo>
                  <a:lnTo>
                    <a:pt x="92" y="407"/>
                  </a:lnTo>
                  <a:lnTo>
                    <a:pt x="101" y="404"/>
                  </a:lnTo>
                  <a:lnTo>
                    <a:pt x="104" y="404"/>
                  </a:lnTo>
                  <a:lnTo>
                    <a:pt x="107" y="398"/>
                  </a:lnTo>
                  <a:lnTo>
                    <a:pt x="104" y="398"/>
                  </a:lnTo>
                  <a:lnTo>
                    <a:pt x="107" y="395"/>
                  </a:lnTo>
                  <a:lnTo>
                    <a:pt x="107" y="389"/>
                  </a:lnTo>
                  <a:lnTo>
                    <a:pt x="112" y="386"/>
                  </a:lnTo>
                  <a:lnTo>
                    <a:pt x="118" y="386"/>
                  </a:lnTo>
                  <a:lnTo>
                    <a:pt x="127" y="386"/>
                  </a:lnTo>
                  <a:lnTo>
                    <a:pt x="133" y="386"/>
                  </a:lnTo>
                  <a:lnTo>
                    <a:pt x="142" y="389"/>
                  </a:lnTo>
                  <a:lnTo>
                    <a:pt x="145" y="386"/>
                  </a:lnTo>
                  <a:lnTo>
                    <a:pt x="148" y="380"/>
                  </a:lnTo>
                  <a:lnTo>
                    <a:pt x="154" y="380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1" y="368"/>
                  </a:lnTo>
                  <a:lnTo>
                    <a:pt x="151" y="362"/>
                  </a:lnTo>
                  <a:lnTo>
                    <a:pt x="157" y="362"/>
                  </a:lnTo>
                  <a:lnTo>
                    <a:pt x="160" y="365"/>
                  </a:lnTo>
                  <a:lnTo>
                    <a:pt x="163" y="368"/>
                  </a:lnTo>
                  <a:lnTo>
                    <a:pt x="166" y="365"/>
                  </a:lnTo>
                  <a:lnTo>
                    <a:pt x="169" y="368"/>
                  </a:lnTo>
                  <a:lnTo>
                    <a:pt x="172" y="365"/>
                  </a:lnTo>
                  <a:lnTo>
                    <a:pt x="177" y="362"/>
                  </a:lnTo>
                  <a:lnTo>
                    <a:pt x="177" y="360"/>
                  </a:lnTo>
                  <a:lnTo>
                    <a:pt x="177" y="357"/>
                  </a:lnTo>
                  <a:lnTo>
                    <a:pt x="180" y="354"/>
                  </a:lnTo>
                  <a:lnTo>
                    <a:pt x="183" y="354"/>
                  </a:lnTo>
                  <a:lnTo>
                    <a:pt x="186" y="354"/>
                  </a:lnTo>
                  <a:lnTo>
                    <a:pt x="189" y="351"/>
                  </a:lnTo>
                  <a:lnTo>
                    <a:pt x="192" y="348"/>
                  </a:lnTo>
                  <a:lnTo>
                    <a:pt x="198" y="345"/>
                  </a:lnTo>
                  <a:lnTo>
                    <a:pt x="192" y="342"/>
                  </a:lnTo>
                  <a:lnTo>
                    <a:pt x="192" y="339"/>
                  </a:lnTo>
                  <a:lnTo>
                    <a:pt x="195" y="336"/>
                  </a:lnTo>
                  <a:lnTo>
                    <a:pt x="207" y="321"/>
                  </a:lnTo>
                  <a:lnTo>
                    <a:pt x="207" y="318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7" y="303"/>
                  </a:lnTo>
                  <a:lnTo>
                    <a:pt x="204" y="298"/>
                  </a:lnTo>
                  <a:lnTo>
                    <a:pt x="207" y="298"/>
                  </a:lnTo>
                  <a:lnTo>
                    <a:pt x="210" y="301"/>
                  </a:lnTo>
                  <a:lnTo>
                    <a:pt x="216" y="298"/>
                  </a:lnTo>
                  <a:lnTo>
                    <a:pt x="216" y="295"/>
                  </a:lnTo>
                  <a:lnTo>
                    <a:pt x="213" y="292"/>
                  </a:lnTo>
                  <a:lnTo>
                    <a:pt x="216" y="286"/>
                  </a:lnTo>
                  <a:lnTo>
                    <a:pt x="216" y="283"/>
                  </a:lnTo>
                  <a:lnTo>
                    <a:pt x="213" y="280"/>
                  </a:lnTo>
                  <a:lnTo>
                    <a:pt x="207" y="277"/>
                  </a:lnTo>
                  <a:lnTo>
                    <a:pt x="207" y="271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3" y="256"/>
                  </a:lnTo>
                  <a:lnTo>
                    <a:pt x="213" y="250"/>
                  </a:lnTo>
                  <a:lnTo>
                    <a:pt x="210" y="250"/>
                  </a:lnTo>
                  <a:lnTo>
                    <a:pt x="210" y="247"/>
                  </a:lnTo>
                  <a:lnTo>
                    <a:pt x="207" y="244"/>
                  </a:lnTo>
                  <a:lnTo>
                    <a:pt x="204" y="241"/>
                  </a:lnTo>
                  <a:lnTo>
                    <a:pt x="204" y="244"/>
                  </a:lnTo>
                  <a:lnTo>
                    <a:pt x="204" y="241"/>
                  </a:lnTo>
                  <a:lnTo>
                    <a:pt x="201" y="239"/>
                  </a:lnTo>
                  <a:lnTo>
                    <a:pt x="198" y="236"/>
                  </a:lnTo>
                  <a:lnTo>
                    <a:pt x="198" y="233"/>
                  </a:lnTo>
                  <a:lnTo>
                    <a:pt x="195" y="230"/>
                  </a:lnTo>
                  <a:lnTo>
                    <a:pt x="195" y="227"/>
                  </a:lnTo>
                  <a:lnTo>
                    <a:pt x="198" y="227"/>
                  </a:lnTo>
                  <a:lnTo>
                    <a:pt x="201" y="224"/>
                  </a:lnTo>
                  <a:lnTo>
                    <a:pt x="204" y="221"/>
                  </a:lnTo>
                  <a:lnTo>
                    <a:pt x="207" y="218"/>
                  </a:lnTo>
                  <a:lnTo>
                    <a:pt x="204" y="212"/>
                  </a:lnTo>
                  <a:lnTo>
                    <a:pt x="201" y="215"/>
                  </a:lnTo>
                  <a:lnTo>
                    <a:pt x="198" y="212"/>
                  </a:lnTo>
                  <a:lnTo>
                    <a:pt x="198" y="206"/>
                  </a:lnTo>
                  <a:lnTo>
                    <a:pt x="201" y="200"/>
                  </a:lnTo>
                  <a:lnTo>
                    <a:pt x="201" y="197"/>
                  </a:lnTo>
                  <a:lnTo>
                    <a:pt x="207" y="194"/>
                  </a:lnTo>
                  <a:lnTo>
                    <a:pt x="210" y="191"/>
                  </a:lnTo>
                  <a:lnTo>
                    <a:pt x="216" y="185"/>
                  </a:lnTo>
                  <a:lnTo>
                    <a:pt x="222" y="182"/>
                  </a:lnTo>
                  <a:lnTo>
                    <a:pt x="228" y="174"/>
                  </a:lnTo>
                  <a:lnTo>
                    <a:pt x="225" y="171"/>
                  </a:lnTo>
                  <a:lnTo>
                    <a:pt x="222" y="168"/>
                  </a:lnTo>
                  <a:lnTo>
                    <a:pt x="216" y="165"/>
                  </a:lnTo>
                  <a:lnTo>
                    <a:pt x="210" y="162"/>
                  </a:lnTo>
                  <a:lnTo>
                    <a:pt x="207" y="159"/>
                  </a:lnTo>
                  <a:lnTo>
                    <a:pt x="207" y="156"/>
                  </a:lnTo>
                  <a:lnTo>
                    <a:pt x="207" y="153"/>
                  </a:lnTo>
                  <a:lnTo>
                    <a:pt x="201" y="150"/>
                  </a:lnTo>
                  <a:lnTo>
                    <a:pt x="198" y="147"/>
                  </a:lnTo>
                  <a:lnTo>
                    <a:pt x="201" y="141"/>
                  </a:lnTo>
                  <a:lnTo>
                    <a:pt x="201" y="138"/>
                  </a:lnTo>
                  <a:lnTo>
                    <a:pt x="204" y="132"/>
                  </a:lnTo>
                  <a:lnTo>
                    <a:pt x="207" y="126"/>
                  </a:lnTo>
                  <a:lnTo>
                    <a:pt x="210" y="123"/>
                  </a:lnTo>
                  <a:lnTo>
                    <a:pt x="219" y="118"/>
                  </a:lnTo>
                  <a:lnTo>
                    <a:pt x="231" y="106"/>
                  </a:lnTo>
                  <a:lnTo>
                    <a:pt x="236" y="100"/>
                  </a:lnTo>
                  <a:lnTo>
                    <a:pt x="239" y="97"/>
                  </a:lnTo>
                  <a:lnTo>
                    <a:pt x="239" y="94"/>
                  </a:lnTo>
                  <a:lnTo>
                    <a:pt x="236" y="91"/>
                  </a:lnTo>
                  <a:lnTo>
                    <a:pt x="239" y="88"/>
                  </a:lnTo>
                  <a:lnTo>
                    <a:pt x="233" y="82"/>
                  </a:lnTo>
                  <a:lnTo>
                    <a:pt x="228" y="79"/>
                  </a:lnTo>
                  <a:lnTo>
                    <a:pt x="225" y="76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2" y="70"/>
                  </a:lnTo>
                  <a:lnTo>
                    <a:pt x="225" y="70"/>
                  </a:lnTo>
                  <a:lnTo>
                    <a:pt x="225" y="67"/>
                  </a:lnTo>
                  <a:lnTo>
                    <a:pt x="225" y="64"/>
                  </a:lnTo>
                  <a:lnTo>
                    <a:pt x="225" y="61"/>
                  </a:lnTo>
                  <a:lnTo>
                    <a:pt x="228" y="59"/>
                  </a:lnTo>
                  <a:lnTo>
                    <a:pt x="228" y="56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1"/>
                  </a:lnTo>
                  <a:lnTo>
                    <a:pt x="222" y="38"/>
                  </a:lnTo>
                  <a:lnTo>
                    <a:pt x="222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16" y="26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07" y="20"/>
                  </a:lnTo>
                  <a:lnTo>
                    <a:pt x="207" y="17"/>
                  </a:lnTo>
                  <a:lnTo>
                    <a:pt x="204" y="14"/>
                  </a:lnTo>
                  <a:lnTo>
                    <a:pt x="204" y="11"/>
                  </a:lnTo>
                  <a:lnTo>
                    <a:pt x="204" y="8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7" y="0"/>
                  </a:lnTo>
                  <a:lnTo>
                    <a:pt x="213" y="5"/>
                  </a:lnTo>
                  <a:lnTo>
                    <a:pt x="219" y="11"/>
                  </a:lnTo>
                  <a:lnTo>
                    <a:pt x="225" y="8"/>
                  </a:lnTo>
                  <a:lnTo>
                    <a:pt x="231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5" y="11"/>
                  </a:lnTo>
                  <a:lnTo>
                    <a:pt x="248" y="11"/>
                  </a:lnTo>
                  <a:lnTo>
                    <a:pt x="254" y="8"/>
                  </a:lnTo>
                  <a:lnTo>
                    <a:pt x="257" y="5"/>
                  </a:lnTo>
                  <a:lnTo>
                    <a:pt x="260" y="5"/>
                  </a:lnTo>
                  <a:lnTo>
                    <a:pt x="263" y="2"/>
                  </a:lnTo>
                  <a:lnTo>
                    <a:pt x="266" y="2"/>
                  </a:lnTo>
                  <a:lnTo>
                    <a:pt x="269" y="0"/>
                  </a:lnTo>
                  <a:lnTo>
                    <a:pt x="272" y="2"/>
                  </a:lnTo>
                  <a:lnTo>
                    <a:pt x="278" y="5"/>
                  </a:lnTo>
                  <a:lnTo>
                    <a:pt x="284" y="5"/>
                  </a:lnTo>
                  <a:lnTo>
                    <a:pt x="284" y="8"/>
                  </a:lnTo>
                  <a:lnTo>
                    <a:pt x="290" y="8"/>
                  </a:lnTo>
                  <a:lnTo>
                    <a:pt x="290" y="11"/>
                  </a:lnTo>
                  <a:lnTo>
                    <a:pt x="293" y="11"/>
                  </a:lnTo>
                  <a:lnTo>
                    <a:pt x="295" y="11"/>
                  </a:lnTo>
                  <a:lnTo>
                    <a:pt x="295" y="14"/>
                  </a:lnTo>
                  <a:lnTo>
                    <a:pt x="298" y="17"/>
                  </a:lnTo>
                  <a:lnTo>
                    <a:pt x="295" y="20"/>
                  </a:lnTo>
                  <a:lnTo>
                    <a:pt x="295" y="23"/>
                  </a:lnTo>
                  <a:lnTo>
                    <a:pt x="298" y="26"/>
                  </a:lnTo>
                  <a:lnTo>
                    <a:pt x="298" y="20"/>
                  </a:lnTo>
                  <a:lnTo>
                    <a:pt x="301" y="20"/>
                  </a:lnTo>
                  <a:lnTo>
                    <a:pt x="304" y="23"/>
                  </a:lnTo>
                  <a:lnTo>
                    <a:pt x="304" y="26"/>
                  </a:lnTo>
                  <a:lnTo>
                    <a:pt x="307" y="29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32"/>
                  </a:lnTo>
                  <a:lnTo>
                    <a:pt x="322" y="35"/>
                  </a:lnTo>
                  <a:lnTo>
                    <a:pt x="322" y="38"/>
                  </a:lnTo>
                  <a:lnTo>
                    <a:pt x="325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38"/>
                  </a:lnTo>
                  <a:lnTo>
                    <a:pt x="337" y="35"/>
                  </a:lnTo>
                  <a:lnTo>
                    <a:pt x="340" y="35"/>
                  </a:lnTo>
                  <a:lnTo>
                    <a:pt x="343" y="35"/>
                  </a:lnTo>
                  <a:lnTo>
                    <a:pt x="343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52" y="32"/>
                  </a:lnTo>
                  <a:lnTo>
                    <a:pt x="354" y="32"/>
                  </a:lnTo>
                  <a:lnTo>
                    <a:pt x="357" y="32"/>
                  </a:lnTo>
                  <a:lnTo>
                    <a:pt x="357" y="35"/>
                  </a:lnTo>
                  <a:lnTo>
                    <a:pt x="360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9" y="35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78" y="41"/>
                  </a:lnTo>
                  <a:lnTo>
                    <a:pt x="375" y="41"/>
                  </a:lnTo>
                  <a:lnTo>
                    <a:pt x="375" y="44"/>
                  </a:lnTo>
                  <a:lnTo>
                    <a:pt x="378" y="44"/>
                  </a:lnTo>
                  <a:lnTo>
                    <a:pt x="381" y="44"/>
                  </a:lnTo>
                  <a:lnTo>
                    <a:pt x="381" y="41"/>
                  </a:lnTo>
                  <a:lnTo>
                    <a:pt x="384" y="41"/>
                  </a:lnTo>
                  <a:lnTo>
                    <a:pt x="387" y="41"/>
                  </a:lnTo>
                  <a:lnTo>
                    <a:pt x="390" y="41"/>
                  </a:lnTo>
                  <a:lnTo>
                    <a:pt x="390" y="44"/>
                  </a:lnTo>
                  <a:lnTo>
                    <a:pt x="393" y="44"/>
                  </a:lnTo>
                  <a:lnTo>
                    <a:pt x="396" y="44"/>
                  </a:lnTo>
                  <a:lnTo>
                    <a:pt x="399" y="44"/>
                  </a:lnTo>
                  <a:lnTo>
                    <a:pt x="402" y="44"/>
                  </a:lnTo>
                  <a:lnTo>
                    <a:pt x="402" y="50"/>
                  </a:lnTo>
                  <a:lnTo>
                    <a:pt x="402" y="53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2" y="67"/>
                  </a:lnTo>
                  <a:lnTo>
                    <a:pt x="402" y="73"/>
                  </a:lnTo>
                  <a:lnTo>
                    <a:pt x="402" y="79"/>
                  </a:lnTo>
                  <a:lnTo>
                    <a:pt x="399" y="82"/>
                  </a:lnTo>
                  <a:lnTo>
                    <a:pt x="399" y="85"/>
                  </a:lnTo>
                  <a:lnTo>
                    <a:pt x="393" y="91"/>
                  </a:lnTo>
                  <a:lnTo>
                    <a:pt x="393" y="94"/>
                  </a:lnTo>
                  <a:lnTo>
                    <a:pt x="396" y="103"/>
                  </a:lnTo>
                  <a:lnTo>
                    <a:pt x="396" y="106"/>
                  </a:lnTo>
                  <a:lnTo>
                    <a:pt x="393" y="106"/>
                  </a:lnTo>
                  <a:lnTo>
                    <a:pt x="390" y="106"/>
                  </a:lnTo>
                  <a:lnTo>
                    <a:pt x="390" y="103"/>
                  </a:lnTo>
                  <a:lnTo>
                    <a:pt x="390" y="100"/>
                  </a:lnTo>
                  <a:lnTo>
                    <a:pt x="387" y="100"/>
                  </a:lnTo>
                  <a:lnTo>
                    <a:pt x="387" y="103"/>
                  </a:lnTo>
                  <a:lnTo>
                    <a:pt x="384" y="106"/>
                  </a:lnTo>
                  <a:lnTo>
                    <a:pt x="381" y="109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4" y="112"/>
                  </a:lnTo>
                  <a:lnTo>
                    <a:pt x="384" y="115"/>
                  </a:lnTo>
                  <a:lnTo>
                    <a:pt x="387" y="115"/>
                  </a:lnTo>
                  <a:lnTo>
                    <a:pt x="387" y="118"/>
                  </a:lnTo>
                  <a:lnTo>
                    <a:pt x="384" y="120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6"/>
                  </a:lnTo>
                  <a:lnTo>
                    <a:pt x="381" y="129"/>
                  </a:lnTo>
                  <a:lnTo>
                    <a:pt x="378" y="129"/>
                  </a:lnTo>
                  <a:lnTo>
                    <a:pt x="378" y="126"/>
                  </a:lnTo>
                  <a:lnTo>
                    <a:pt x="375" y="126"/>
                  </a:lnTo>
                  <a:lnTo>
                    <a:pt x="372" y="126"/>
                  </a:lnTo>
                  <a:lnTo>
                    <a:pt x="369" y="126"/>
                  </a:lnTo>
                  <a:lnTo>
                    <a:pt x="366" y="126"/>
                  </a:lnTo>
                  <a:lnTo>
                    <a:pt x="366" y="123"/>
                  </a:lnTo>
                  <a:lnTo>
                    <a:pt x="363" y="123"/>
                  </a:lnTo>
                  <a:lnTo>
                    <a:pt x="360" y="126"/>
                  </a:lnTo>
                  <a:lnTo>
                    <a:pt x="357" y="126"/>
                  </a:lnTo>
                  <a:lnTo>
                    <a:pt x="354" y="126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49" y="123"/>
                  </a:lnTo>
                  <a:lnTo>
                    <a:pt x="346" y="120"/>
                  </a:lnTo>
                  <a:lnTo>
                    <a:pt x="346" y="118"/>
                  </a:lnTo>
                  <a:lnTo>
                    <a:pt x="343" y="118"/>
                  </a:lnTo>
                  <a:lnTo>
                    <a:pt x="343" y="115"/>
                  </a:lnTo>
                  <a:lnTo>
                    <a:pt x="340" y="115"/>
                  </a:lnTo>
                  <a:lnTo>
                    <a:pt x="337" y="115"/>
                  </a:lnTo>
                  <a:lnTo>
                    <a:pt x="334" y="115"/>
                  </a:lnTo>
                  <a:lnTo>
                    <a:pt x="334" y="112"/>
                  </a:lnTo>
                  <a:lnTo>
                    <a:pt x="334" y="109"/>
                  </a:lnTo>
                  <a:lnTo>
                    <a:pt x="334" y="106"/>
                  </a:lnTo>
                  <a:lnTo>
                    <a:pt x="334" y="103"/>
                  </a:lnTo>
                  <a:lnTo>
                    <a:pt x="331" y="100"/>
                  </a:lnTo>
                  <a:lnTo>
                    <a:pt x="331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1"/>
                  </a:lnTo>
                  <a:lnTo>
                    <a:pt x="328" y="88"/>
                  </a:lnTo>
                  <a:lnTo>
                    <a:pt x="325" y="85"/>
                  </a:lnTo>
                  <a:lnTo>
                    <a:pt x="322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3" y="79"/>
                  </a:lnTo>
                  <a:lnTo>
                    <a:pt x="310" y="82"/>
                  </a:lnTo>
                  <a:lnTo>
                    <a:pt x="310" y="85"/>
                  </a:lnTo>
                  <a:lnTo>
                    <a:pt x="307" y="85"/>
                  </a:lnTo>
                  <a:lnTo>
                    <a:pt x="307" y="88"/>
                  </a:lnTo>
                  <a:lnTo>
                    <a:pt x="307" y="91"/>
                  </a:lnTo>
                  <a:lnTo>
                    <a:pt x="310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6" y="91"/>
                  </a:lnTo>
                  <a:lnTo>
                    <a:pt x="316" y="94"/>
                  </a:lnTo>
                  <a:lnTo>
                    <a:pt x="316" y="97"/>
                  </a:lnTo>
                  <a:lnTo>
                    <a:pt x="319" y="97"/>
                  </a:lnTo>
                  <a:lnTo>
                    <a:pt x="322" y="100"/>
                  </a:lnTo>
                  <a:lnTo>
                    <a:pt x="322" y="97"/>
                  </a:lnTo>
                  <a:lnTo>
                    <a:pt x="325" y="100"/>
                  </a:lnTo>
                  <a:lnTo>
                    <a:pt x="322" y="103"/>
                  </a:lnTo>
                  <a:lnTo>
                    <a:pt x="319" y="103"/>
                  </a:lnTo>
                  <a:lnTo>
                    <a:pt x="319" y="106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3" y="106"/>
                  </a:lnTo>
                  <a:lnTo>
                    <a:pt x="313" y="103"/>
                  </a:lnTo>
                  <a:lnTo>
                    <a:pt x="310" y="100"/>
                  </a:lnTo>
                  <a:lnTo>
                    <a:pt x="307" y="100"/>
                  </a:lnTo>
                  <a:lnTo>
                    <a:pt x="304" y="100"/>
                  </a:lnTo>
                  <a:lnTo>
                    <a:pt x="304" y="103"/>
                  </a:lnTo>
                  <a:lnTo>
                    <a:pt x="304" y="106"/>
                  </a:lnTo>
                  <a:lnTo>
                    <a:pt x="301" y="106"/>
                  </a:lnTo>
                  <a:lnTo>
                    <a:pt x="298" y="103"/>
                  </a:lnTo>
                  <a:lnTo>
                    <a:pt x="295" y="100"/>
                  </a:lnTo>
                  <a:lnTo>
                    <a:pt x="293" y="100"/>
                  </a:lnTo>
                  <a:lnTo>
                    <a:pt x="293" y="97"/>
                  </a:lnTo>
                  <a:lnTo>
                    <a:pt x="290" y="94"/>
                  </a:lnTo>
                  <a:lnTo>
                    <a:pt x="287" y="94"/>
                  </a:lnTo>
                  <a:lnTo>
                    <a:pt x="284" y="91"/>
                  </a:lnTo>
                  <a:lnTo>
                    <a:pt x="284" y="88"/>
                  </a:lnTo>
                  <a:lnTo>
                    <a:pt x="281" y="88"/>
                  </a:lnTo>
                  <a:lnTo>
                    <a:pt x="278" y="85"/>
                  </a:lnTo>
                  <a:lnTo>
                    <a:pt x="278" y="82"/>
                  </a:lnTo>
                  <a:lnTo>
                    <a:pt x="275" y="82"/>
                  </a:lnTo>
                  <a:lnTo>
                    <a:pt x="272" y="82"/>
                  </a:lnTo>
                  <a:lnTo>
                    <a:pt x="269" y="82"/>
                  </a:lnTo>
                  <a:lnTo>
                    <a:pt x="266" y="79"/>
                  </a:lnTo>
                  <a:lnTo>
                    <a:pt x="263" y="76"/>
                  </a:lnTo>
                  <a:lnTo>
                    <a:pt x="260" y="73"/>
                  </a:lnTo>
                  <a:lnTo>
                    <a:pt x="257" y="73"/>
                  </a:lnTo>
                  <a:lnTo>
                    <a:pt x="254" y="73"/>
                  </a:lnTo>
                  <a:lnTo>
                    <a:pt x="254" y="64"/>
                  </a:lnTo>
                  <a:lnTo>
                    <a:pt x="251" y="64"/>
                  </a:lnTo>
                  <a:lnTo>
                    <a:pt x="248" y="76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8" y="85"/>
                  </a:lnTo>
                  <a:lnTo>
                    <a:pt x="251" y="85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7" y="85"/>
                  </a:lnTo>
                  <a:lnTo>
                    <a:pt x="260" y="82"/>
                  </a:lnTo>
                  <a:lnTo>
                    <a:pt x="263" y="85"/>
                  </a:lnTo>
                  <a:lnTo>
                    <a:pt x="263" y="88"/>
                  </a:lnTo>
                  <a:lnTo>
                    <a:pt x="266" y="91"/>
                  </a:lnTo>
                  <a:lnTo>
                    <a:pt x="266" y="94"/>
                  </a:lnTo>
                  <a:lnTo>
                    <a:pt x="263" y="94"/>
                  </a:lnTo>
                  <a:lnTo>
                    <a:pt x="260" y="94"/>
                  </a:lnTo>
                  <a:lnTo>
                    <a:pt x="257" y="97"/>
                  </a:lnTo>
                  <a:lnTo>
                    <a:pt x="254" y="100"/>
                  </a:lnTo>
                  <a:lnTo>
                    <a:pt x="251" y="103"/>
                  </a:lnTo>
                  <a:lnTo>
                    <a:pt x="248" y="103"/>
                  </a:lnTo>
                  <a:lnTo>
                    <a:pt x="248" y="109"/>
                  </a:lnTo>
                  <a:lnTo>
                    <a:pt x="248" y="112"/>
                  </a:lnTo>
                  <a:lnTo>
                    <a:pt x="248" y="115"/>
                  </a:lnTo>
                  <a:lnTo>
                    <a:pt x="245" y="115"/>
                  </a:lnTo>
                  <a:lnTo>
                    <a:pt x="242" y="115"/>
                  </a:lnTo>
                  <a:lnTo>
                    <a:pt x="239" y="118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33" y="123"/>
                  </a:lnTo>
                  <a:lnTo>
                    <a:pt x="231" y="126"/>
                  </a:lnTo>
                  <a:lnTo>
                    <a:pt x="233" y="129"/>
                  </a:lnTo>
                  <a:lnTo>
                    <a:pt x="233" y="132"/>
                  </a:lnTo>
                  <a:lnTo>
                    <a:pt x="233" y="135"/>
                  </a:lnTo>
                  <a:lnTo>
                    <a:pt x="231" y="138"/>
                  </a:lnTo>
                  <a:lnTo>
                    <a:pt x="231" y="141"/>
                  </a:lnTo>
                  <a:lnTo>
                    <a:pt x="228" y="144"/>
                  </a:lnTo>
                  <a:lnTo>
                    <a:pt x="228" y="147"/>
                  </a:lnTo>
                  <a:lnTo>
                    <a:pt x="228" y="150"/>
                  </a:lnTo>
                  <a:lnTo>
                    <a:pt x="228" y="153"/>
                  </a:lnTo>
                  <a:lnTo>
                    <a:pt x="228" y="156"/>
                  </a:lnTo>
                  <a:lnTo>
                    <a:pt x="228" y="159"/>
                  </a:lnTo>
                  <a:lnTo>
                    <a:pt x="231" y="162"/>
                  </a:lnTo>
                  <a:lnTo>
                    <a:pt x="233" y="165"/>
                  </a:lnTo>
                  <a:lnTo>
                    <a:pt x="236" y="162"/>
                  </a:lnTo>
                  <a:lnTo>
                    <a:pt x="239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5" y="159"/>
                  </a:lnTo>
                  <a:lnTo>
                    <a:pt x="245" y="162"/>
                  </a:lnTo>
                  <a:lnTo>
                    <a:pt x="248" y="162"/>
                  </a:lnTo>
                  <a:lnTo>
                    <a:pt x="251" y="165"/>
                  </a:lnTo>
                  <a:lnTo>
                    <a:pt x="254" y="165"/>
                  </a:lnTo>
                  <a:lnTo>
                    <a:pt x="254" y="168"/>
                  </a:lnTo>
                  <a:lnTo>
                    <a:pt x="257" y="168"/>
                  </a:lnTo>
                  <a:lnTo>
                    <a:pt x="257" y="171"/>
                  </a:lnTo>
                  <a:lnTo>
                    <a:pt x="260" y="174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66" y="177"/>
                  </a:lnTo>
                  <a:lnTo>
                    <a:pt x="266" y="180"/>
                  </a:lnTo>
                  <a:lnTo>
                    <a:pt x="266" y="182"/>
                  </a:lnTo>
                  <a:lnTo>
                    <a:pt x="269" y="182"/>
                  </a:lnTo>
                  <a:lnTo>
                    <a:pt x="272" y="182"/>
                  </a:lnTo>
                  <a:lnTo>
                    <a:pt x="272" y="185"/>
                  </a:lnTo>
                  <a:lnTo>
                    <a:pt x="275" y="188"/>
                  </a:lnTo>
                  <a:lnTo>
                    <a:pt x="278" y="191"/>
                  </a:lnTo>
                  <a:lnTo>
                    <a:pt x="281" y="191"/>
                  </a:lnTo>
                  <a:lnTo>
                    <a:pt x="284" y="188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4"/>
                  </a:lnTo>
                  <a:lnTo>
                    <a:pt x="293" y="194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8" y="188"/>
                  </a:lnTo>
                  <a:lnTo>
                    <a:pt x="298" y="191"/>
                  </a:lnTo>
                  <a:lnTo>
                    <a:pt x="301" y="191"/>
                  </a:lnTo>
                  <a:lnTo>
                    <a:pt x="301" y="188"/>
                  </a:lnTo>
                  <a:lnTo>
                    <a:pt x="304" y="188"/>
                  </a:lnTo>
                  <a:lnTo>
                    <a:pt x="304" y="185"/>
                  </a:lnTo>
                  <a:lnTo>
                    <a:pt x="304" y="188"/>
                  </a:lnTo>
                  <a:lnTo>
                    <a:pt x="307" y="188"/>
                  </a:lnTo>
                  <a:lnTo>
                    <a:pt x="307" y="191"/>
                  </a:lnTo>
                  <a:lnTo>
                    <a:pt x="310" y="194"/>
                  </a:lnTo>
                  <a:lnTo>
                    <a:pt x="307" y="197"/>
                  </a:lnTo>
                  <a:lnTo>
                    <a:pt x="307" y="200"/>
                  </a:lnTo>
                  <a:lnTo>
                    <a:pt x="310" y="200"/>
                  </a:lnTo>
                  <a:lnTo>
                    <a:pt x="310" y="203"/>
                  </a:lnTo>
                  <a:lnTo>
                    <a:pt x="310" y="206"/>
                  </a:lnTo>
                  <a:lnTo>
                    <a:pt x="316" y="206"/>
                  </a:lnTo>
                  <a:lnTo>
                    <a:pt x="319" y="209"/>
                  </a:lnTo>
                  <a:lnTo>
                    <a:pt x="322" y="209"/>
                  </a:lnTo>
                  <a:lnTo>
                    <a:pt x="325" y="209"/>
                  </a:lnTo>
                  <a:lnTo>
                    <a:pt x="328" y="212"/>
                  </a:lnTo>
                  <a:lnTo>
                    <a:pt x="325" y="215"/>
                  </a:lnTo>
                  <a:lnTo>
                    <a:pt x="322" y="215"/>
                  </a:lnTo>
                  <a:lnTo>
                    <a:pt x="322" y="218"/>
                  </a:lnTo>
                  <a:lnTo>
                    <a:pt x="322" y="221"/>
                  </a:lnTo>
                  <a:lnTo>
                    <a:pt x="319" y="221"/>
                  </a:lnTo>
                  <a:lnTo>
                    <a:pt x="322" y="221"/>
                  </a:lnTo>
                  <a:lnTo>
                    <a:pt x="322" y="224"/>
                  </a:lnTo>
                  <a:lnTo>
                    <a:pt x="319" y="224"/>
                  </a:lnTo>
                  <a:lnTo>
                    <a:pt x="316" y="224"/>
                  </a:lnTo>
                  <a:lnTo>
                    <a:pt x="313" y="224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10" y="224"/>
                  </a:lnTo>
                  <a:lnTo>
                    <a:pt x="307" y="227"/>
                  </a:lnTo>
                  <a:lnTo>
                    <a:pt x="304" y="227"/>
                  </a:lnTo>
                  <a:lnTo>
                    <a:pt x="301" y="227"/>
                  </a:lnTo>
                  <a:lnTo>
                    <a:pt x="301" y="224"/>
                  </a:lnTo>
                  <a:lnTo>
                    <a:pt x="298" y="224"/>
                  </a:lnTo>
                  <a:lnTo>
                    <a:pt x="295" y="224"/>
                  </a:lnTo>
                  <a:lnTo>
                    <a:pt x="293" y="224"/>
                  </a:lnTo>
                  <a:lnTo>
                    <a:pt x="287" y="224"/>
                  </a:lnTo>
                  <a:lnTo>
                    <a:pt x="287" y="227"/>
                  </a:lnTo>
                  <a:lnTo>
                    <a:pt x="284" y="227"/>
                  </a:lnTo>
                  <a:lnTo>
                    <a:pt x="281" y="227"/>
                  </a:lnTo>
                  <a:lnTo>
                    <a:pt x="278" y="227"/>
                  </a:lnTo>
                  <a:lnTo>
                    <a:pt x="275" y="227"/>
                  </a:lnTo>
                  <a:lnTo>
                    <a:pt x="275" y="224"/>
                  </a:lnTo>
                  <a:lnTo>
                    <a:pt x="272" y="224"/>
                  </a:lnTo>
                  <a:lnTo>
                    <a:pt x="272" y="227"/>
                  </a:lnTo>
                  <a:lnTo>
                    <a:pt x="269" y="227"/>
                  </a:lnTo>
                  <a:lnTo>
                    <a:pt x="269" y="230"/>
                  </a:lnTo>
                  <a:lnTo>
                    <a:pt x="272" y="230"/>
                  </a:lnTo>
                  <a:lnTo>
                    <a:pt x="272" y="233"/>
                  </a:lnTo>
                  <a:lnTo>
                    <a:pt x="269" y="236"/>
                  </a:lnTo>
                  <a:lnTo>
                    <a:pt x="269" y="239"/>
                  </a:lnTo>
                  <a:lnTo>
                    <a:pt x="272" y="241"/>
                  </a:lnTo>
                  <a:lnTo>
                    <a:pt x="269" y="241"/>
                  </a:lnTo>
                  <a:lnTo>
                    <a:pt x="272" y="244"/>
                  </a:lnTo>
                  <a:lnTo>
                    <a:pt x="269" y="247"/>
                  </a:lnTo>
                  <a:lnTo>
                    <a:pt x="269" y="250"/>
                  </a:lnTo>
                  <a:lnTo>
                    <a:pt x="266" y="253"/>
                  </a:lnTo>
                  <a:lnTo>
                    <a:pt x="266" y="256"/>
                  </a:lnTo>
                  <a:lnTo>
                    <a:pt x="263" y="256"/>
                  </a:lnTo>
                  <a:lnTo>
                    <a:pt x="263" y="253"/>
                  </a:lnTo>
                  <a:lnTo>
                    <a:pt x="263" y="256"/>
                  </a:lnTo>
                  <a:lnTo>
                    <a:pt x="260" y="259"/>
                  </a:lnTo>
                  <a:lnTo>
                    <a:pt x="260" y="262"/>
                  </a:lnTo>
                  <a:lnTo>
                    <a:pt x="260" y="265"/>
                  </a:lnTo>
                  <a:lnTo>
                    <a:pt x="257" y="265"/>
                  </a:lnTo>
                  <a:lnTo>
                    <a:pt x="254" y="265"/>
                  </a:lnTo>
                  <a:lnTo>
                    <a:pt x="251" y="262"/>
                  </a:lnTo>
                  <a:lnTo>
                    <a:pt x="251" y="259"/>
                  </a:lnTo>
                  <a:lnTo>
                    <a:pt x="248" y="259"/>
                  </a:lnTo>
                  <a:lnTo>
                    <a:pt x="248" y="256"/>
                  </a:lnTo>
                  <a:lnTo>
                    <a:pt x="242" y="256"/>
                  </a:lnTo>
                  <a:lnTo>
                    <a:pt x="242" y="259"/>
                  </a:lnTo>
                  <a:lnTo>
                    <a:pt x="239" y="259"/>
                  </a:lnTo>
                  <a:lnTo>
                    <a:pt x="239" y="262"/>
                  </a:lnTo>
                  <a:lnTo>
                    <a:pt x="242" y="262"/>
                  </a:lnTo>
                  <a:lnTo>
                    <a:pt x="242" y="265"/>
                  </a:lnTo>
                  <a:lnTo>
                    <a:pt x="242" y="268"/>
                  </a:lnTo>
                  <a:lnTo>
                    <a:pt x="239" y="271"/>
                  </a:lnTo>
                  <a:lnTo>
                    <a:pt x="236" y="274"/>
                  </a:lnTo>
                  <a:lnTo>
                    <a:pt x="233" y="277"/>
                  </a:lnTo>
                  <a:lnTo>
                    <a:pt x="233" y="280"/>
                  </a:lnTo>
                  <a:lnTo>
                    <a:pt x="233" y="283"/>
                  </a:lnTo>
                  <a:lnTo>
                    <a:pt x="231" y="283"/>
                  </a:lnTo>
                  <a:lnTo>
                    <a:pt x="231" y="286"/>
                  </a:lnTo>
                  <a:lnTo>
                    <a:pt x="228" y="286"/>
                  </a:lnTo>
                  <a:lnTo>
                    <a:pt x="228" y="289"/>
                  </a:lnTo>
                  <a:lnTo>
                    <a:pt x="231" y="292"/>
                  </a:lnTo>
                  <a:lnTo>
                    <a:pt x="233" y="295"/>
                  </a:lnTo>
                  <a:lnTo>
                    <a:pt x="233" y="298"/>
                  </a:lnTo>
                  <a:lnTo>
                    <a:pt x="236" y="301"/>
                  </a:lnTo>
                  <a:lnTo>
                    <a:pt x="239" y="303"/>
                  </a:lnTo>
                  <a:lnTo>
                    <a:pt x="245" y="306"/>
                  </a:lnTo>
                  <a:lnTo>
                    <a:pt x="248" y="309"/>
                  </a:lnTo>
                  <a:lnTo>
                    <a:pt x="251" y="312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63" y="318"/>
                  </a:lnTo>
                  <a:lnTo>
                    <a:pt x="266" y="318"/>
                  </a:lnTo>
                  <a:lnTo>
                    <a:pt x="269" y="318"/>
                  </a:lnTo>
                  <a:lnTo>
                    <a:pt x="272" y="321"/>
                  </a:lnTo>
                  <a:lnTo>
                    <a:pt x="275" y="321"/>
                  </a:lnTo>
                  <a:lnTo>
                    <a:pt x="287" y="321"/>
                  </a:lnTo>
                  <a:lnTo>
                    <a:pt x="287" y="324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8" y="324"/>
                  </a:lnTo>
                  <a:lnTo>
                    <a:pt x="301" y="324"/>
                  </a:lnTo>
                  <a:lnTo>
                    <a:pt x="301" y="321"/>
                  </a:lnTo>
                  <a:lnTo>
                    <a:pt x="304" y="321"/>
                  </a:lnTo>
                  <a:lnTo>
                    <a:pt x="304" y="324"/>
                  </a:lnTo>
                  <a:lnTo>
                    <a:pt x="307" y="324"/>
                  </a:lnTo>
                  <a:lnTo>
                    <a:pt x="307" y="327"/>
                  </a:lnTo>
                  <a:lnTo>
                    <a:pt x="307" y="330"/>
                  </a:lnTo>
                  <a:lnTo>
                    <a:pt x="310" y="333"/>
                  </a:lnTo>
                  <a:lnTo>
                    <a:pt x="310" y="336"/>
                  </a:lnTo>
                  <a:lnTo>
                    <a:pt x="310" y="339"/>
                  </a:lnTo>
                  <a:lnTo>
                    <a:pt x="313" y="339"/>
                  </a:lnTo>
                  <a:lnTo>
                    <a:pt x="316" y="339"/>
                  </a:lnTo>
                  <a:lnTo>
                    <a:pt x="316" y="342"/>
                  </a:lnTo>
                  <a:lnTo>
                    <a:pt x="319" y="345"/>
                  </a:lnTo>
                  <a:lnTo>
                    <a:pt x="316" y="345"/>
                  </a:lnTo>
                  <a:lnTo>
                    <a:pt x="313" y="342"/>
                  </a:lnTo>
                  <a:lnTo>
                    <a:pt x="310" y="339"/>
                  </a:lnTo>
                  <a:lnTo>
                    <a:pt x="304" y="339"/>
                  </a:lnTo>
                  <a:lnTo>
                    <a:pt x="304" y="342"/>
                  </a:lnTo>
                  <a:lnTo>
                    <a:pt x="307" y="342"/>
                  </a:lnTo>
                  <a:lnTo>
                    <a:pt x="307" y="345"/>
                  </a:lnTo>
                  <a:lnTo>
                    <a:pt x="304" y="345"/>
                  </a:lnTo>
                  <a:lnTo>
                    <a:pt x="307" y="345"/>
                  </a:lnTo>
                  <a:lnTo>
                    <a:pt x="307" y="348"/>
                  </a:lnTo>
                  <a:lnTo>
                    <a:pt x="307" y="351"/>
                  </a:lnTo>
                  <a:lnTo>
                    <a:pt x="310" y="351"/>
                  </a:lnTo>
                  <a:lnTo>
                    <a:pt x="310" y="354"/>
                  </a:lnTo>
                  <a:lnTo>
                    <a:pt x="313" y="354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0" y="360"/>
                  </a:lnTo>
                  <a:lnTo>
                    <a:pt x="313" y="357"/>
                  </a:lnTo>
                  <a:lnTo>
                    <a:pt x="310" y="357"/>
                  </a:lnTo>
                  <a:lnTo>
                    <a:pt x="313" y="357"/>
                  </a:lnTo>
                  <a:lnTo>
                    <a:pt x="316" y="360"/>
                  </a:lnTo>
                  <a:lnTo>
                    <a:pt x="313" y="360"/>
                  </a:lnTo>
                  <a:lnTo>
                    <a:pt x="313" y="362"/>
                  </a:lnTo>
                  <a:lnTo>
                    <a:pt x="313" y="365"/>
                  </a:lnTo>
                  <a:lnTo>
                    <a:pt x="313" y="368"/>
                  </a:lnTo>
                  <a:lnTo>
                    <a:pt x="310" y="368"/>
                  </a:lnTo>
                  <a:lnTo>
                    <a:pt x="307" y="371"/>
                  </a:lnTo>
                  <a:lnTo>
                    <a:pt x="304" y="371"/>
                  </a:lnTo>
                  <a:lnTo>
                    <a:pt x="304" y="374"/>
                  </a:lnTo>
                  <a:lnTo>
                    <a:pt x="301" y="374"/>
                  </a:lnTo>
                  <a:lnTo>
                    <a:pt x="301" y="371"/>
                  </a:lnTo>
                  <a:lnTo>
                    <a:pt x="298" y="371"/>
                  </a:lnTo>
                  <a:lnTo>
                    <a:pt x="298" y="374"/>
                  </a:lnTo>
                  <a:lnTo>
                    <a:pt x="298" y="377"/>
                  </a:lnTo>
                  <a:lnTo>
                    <a:pt x="298" y="380"/>
                  </a:lnTo>
                  <a:lnTo>
                    <a:pt x="298" y="383"/>
                  </a:lnTo>
                  <a:lnTo>
                    <a:pt x="295" y="383"/>
                  </a:lnTo>
                  <a:lnTo>
                    <a:pt x="298" y="386"/>
                  </a:lnTo>
                  <a:lnTo>
                    <a:pt x="295" y="386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8" y="395"/>
                  </a:lnTo>
                  <a:lnTo>
                    <a:pt x="298" y="398"/>
                  </a:lnTo>
                  <a:lnTo>
                    <a:pt x="295" y="398"/>
                  </a:lnTo>
                  <a:lnTo>
                    <a:pt x="298" y="401"/>
                  </a:lnTo>
                  <a:lnTo>
                    <a:pt x="298" y="398"/>
                  </a:lnTo>
                  <a:lnTo>
                    <a:pt x="301" y="401"/>
                  </a:lnTo>
                  <a:lnTo>
                    <a:pt x="298" y="401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4" y="404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10" y="410"/>
                  </a:lnTo>
                  <a:lnTo>
                    <a:pt x="313" y="413"/>
                  </a:lnTo>
                  <a:lnTo>
                    <a:pt x="316" y="413"/>
                  </a:lnTo>
                  <a:lnTo>
                    <a:pt x="316" y="416"/>
                  </a:lnTo>
                  <a:lnTo>
                    <a:pt x="319" y="416"/>
                  </a:lnTo>
                  <a:lnTo>
                    <a:pt x="322" y="416"/>
                  </a:lnTo>
                  <a:lnTo>
                    <a:pt x="319" y="413"/>
                  </a:lnTo>
                  <a:lnTo>
                    <a:pt x="322" y="413"/>
                  </a:lnTo>
                  <a:lnTo>
                    <a:pt x="322" y="416"/>
                  </a:lnTo>
                  <a:lnTo>
                    <a:pt x="322" y="419"/>
                  </a:lnTo>
                  <a:lnTo>
                    <a:pt x="319" y="419"/>
                  </a:lnTo>
                  <a:lnTo>
                    <a:pt x="319" y="421"/>
                  </a:lnTo>
                  <a:lnTo>
                    <a:pt x="319" y="424"/>
                  </a:lnTo>
                  <a:lnTo>
                    <a:pt x="319" y="427"/>
                  </a:lnTo>
                  <a:lnTo>
                    <a:pt x="322" y="427"/>
                  </a:lnTo>
                  <a:lnTo>
                    <a:pt x="319" y="427"/>
                  </a:lnTo>
                  <a:lnTo>
                    <a:pt x="319" y="430"/>
                  </a:lnTo>
                  <a:lnTo>
                    <a:pt x="316" y="430"/>
                  </a:lnTo>
                  <a:lnTo>
                    <a:pt x="316" y="433"/>
                  </a:lnTo>
                  <a:lnTo>
                    <a:pt x="319" y="433"/>
                  </a:lnTo>
                  <a:lnTo>
                    <a:pt x="316" y="433"/>
                  </a:lnTo>
                  <a:lnTo>
                    <a:pt x="316" y="436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6" y="436"/>
                  </a:lnTo>
                  <a:lnTo>
                    <a:pt x="316" y="439"/>
                  </a:lnTo>
                  <a:lnTo>
                    <a:pt x="316" y="442"/>
                  </a:lnTo>
                  <a:lnTo>
                    <a:pt x="319" y="442"/>
                  </a:lnTo>
                  <a:lnTo>
                    <a:pt x="322" y="442"/>
                  </a:lnTo>
                  <a:lnTo>
                    <a:pt x="325" y="442"/>
                  </a:lnTo>
                  <a:lnTo>
                    <a:pt x="328" y="442"/>
                  </a:lnTo>
                  <a:lnTo>
                    <a:pt x="331" y="442"/>
                  </a:lnTo>
                  <a:lnTo>
                    <a:pt x="334" y="442"/>
                  </a:lnTo>
                  <a:lnTo>
                    <a:pt x="337" y="442"/>
                  </a:lnTo>
                  <a:lnTo>
                    <a:pt x="340" y="442"/>
                  </a:lnTo>
                  <a:lnTo>
                    <a:pt x="340" y="445"/>
                  </a:lnTo>
                  <a:lnTo>
                    <a:pt x="343" y="445"/>
                  </a:lnTo>
                  <a:lnTo>
                    <a:pt x="343" y="442"/>
                  </a:lnTo>
                  <a:lnTo>
                    <a:pt x="346" y="442"/>
                  </a:lnTo>
                  <a:lnTo>
                    <a:pt x="346" y="445"/>
                  </a:lnTo>
                  <a:lnTo>
                    <a:pt x="343" y="445"/>
                  </a:lnTo>
                  <a:lnTo>
                    <a:pt x="343" y="448"/>
                  </a:lnTo>
                  <a:lnTo>
                    <a:pt x="340" y="448"/>
                  </a:lnTo>
                  <a:lnTo>
                    <a:pt x="340" y="451"/>
                  </a:lnTo>
                  <a:lnTo>
                    <a:pt x="340" y="454"/>
                  </a:lnTo>
                  <a:lnTo>
                    <a:pt x="337" y="454"/>
                  </a:lnTo>
                  <a:lnTo>
                    <a:pt x="337" y="457"/>
                  </a:lnTo>
                  <a:lnTo>
                    <a:pt x="334" y="457"/>
                  </a:lnTo>
                  <a:lnTo>
                    <a:pt x="334" y="460"/>
                  </a:lnTo>
                  <a:lnTo>
                    <a:pt x="337" y="460"/>
                  </a:lnTo>
                  <a:lnTo>
                    <a:pt x="337" y="463"/>
                  </a:lnTo>
                  <a:lnTo>
                    <a:pt x="337" y="466"/>
                  </a:lnTo>
                  <a:lnTo>
                    <a:pt x="334" y="466"/>
                  </a:lnTo>
                  <a:lnTo>
                    <a:pt x="334" y="469"/>
                  </a:lnTo>
                  <a:lnTo>
                    <a:pt x="337" y="469"/>
                  </a:lnTo>
                  <a:lnTo>
                    <a:pt x="337" y="472"/>
                  </a:lnTo>
                  <a:lnTo>
                    <a:pt x="334" y="472"/>
                  </a:lnTo>
                  <a:lnTo>
                    <a:pt x="334" y="475"/>
                  </a:lnTo>
                  <a:lnTo>
                    <a:pt x="337" y="472"/>
                  </a:lnTo>
                  <a:lnTo>
                    <a:pt x="340" y="472"/>
                  </a:lnTo>
                  <a:lnTo>
                    <a:pt x="340" y="475"/>
                  </a:lnTo>
                  <a:lnTo>
                    <a:pt x="340" y="478"/>
                  </a:lnTo>
                  <a:lnTo>
                    <a:pt x="340" y="481"/>
                  </a:lnTo>
                  <a:lnTo>
                    <a:pt x="343" y="481"/>
                  </a:lnTo>
                  <a:lnTo>
                    <a:pt x="346" y="481"/>
                  </a:lnTo>
                  <a:lnTo>
                    <a:pt x="346" y="483"/>
                  </a:lnTo>
                  <a:lnTo>
                    <a:pt x="349" y="486"/>
                  </a:lnTo>
                  <a:lnTo>
                    <a:pt x="346" y="489"/>
                  </a:lnTo>
                  <a:lnTo>
                    <a:pt x="346" y="492"/>
                  </a:lnTo>
                  <a:lnTo>
                    <a:pt x="346" y="495"/>
                  </a:lnTo>
                  <a:lnTo>
                    <a:pt x="343" y="492"/>
                  </a:lnTo>
                  <a:lnTo>
                    <a:pt x="343" y="495"/>
                  </a:lnTo>
                  <a:lnTo>
                    <a:pt x="343" y="498"/>
                  </a:lnTo>
                  <a:lnTo>
                    <a:pt x="346" y="498"/>
                  </a:lnTo>
                  <a:lnTo>
                    <a:pt x="346" y="501"/>
                  </a:lnTo>
                  <a:lnTo>
                    <a:pt x="349" y="501"/>
                  </a:lnTo>
                  <a:lnTo>
                    <a:pt x="349" y="504"/>
                  </a:lnTo>
                  <a:lnTo>
                    <a:pt x="346" y="504"/>
                  </a:lnTo>
                  <a:lnTo>
                    <a:pt x="346" y="507"/>
                  </a:lnTo>
                  <a:lnTo>
                    <a:pt x="346" y="510"/>
                  </a:lnTo>
                  <a:lnTo>
                    <a:pt x="349" y="510"/>
                  </a:lnTo>
                  <a:lnTo>
                    <a:pt x="349" y="513"/>
                  </a:lnTo>
                  <a:lnTo>
                    <a:pt x="346" y="513"/>
                  </a:lnTo>
                  <a:lnTo>
                    <a:pt x="346" y="516"/>
                  </a:lnTo>
                  <a:lnTo>
                    <a:pt x="349" y="516"/>
                  </a:lnTo>
                  <a:lnTo>
                    <a:pt x="346" y="516"/>
                  </a:lnTo>
                  <a:lnTo>
                    <a:pt x="349" y="519"/>
                  </a:lnTo>
                  <a:lnTo>
                    <a:pt x="352" y="519"/>
                  </a:lnTo>
                  <a:lnTo>
                    <a:pt x="352" y="522"/>
                  </a:lnTo>
                  <a:lnTo>
                    <a:pt x="352" y="525"/>
                  </a:lnTo>
                  <a:lnTo>
                    <a:pt x="354" y="525"/>
                  </a:lnTo>
                  <a:lnTo>
                    <a:pt x="354" y="528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54" y="534"/>
                  </a:lnTo>
                  <a:lnTo>
                    <a:pt x="354" y="537"/>
                  </a:lnTo>
                  <a:lnTo>
                    <a:pt x="354" y="540"/>
                  </a:lnTo>
                  <a:lnTo>
                    <a:pt x="354" y="542"/>
                  </a:lnTo>
                  <a:lnTo>
                    <a:pt x="357" y="542"/>
                  </a:lnTo>
                  <a:lnTo>
                    <a:pt x="360" y="545"/>
                  </a:lnTo>
                  <a:lnTo>
                    <a:pt x="357" y="545"/>
                  </a:lnTo>
                  <a:lnTo>
                    <a:pt x="357" y="548"/>
                  </a:lnTo>
                  <a:lnTo>
                    <a:pt x="360" y="548"/>
                  </a:lnTo>
                  <a:lnTo>
                    <a:pt x="360" y="551"/>
                  </a:lnTo>
                  <a:lnTo>
                    <a:pt x="363" y="554"/>
                  </a:lnTo>
                  <a:lnTo>
                    <a:pt x="363" y="560"/>
                  </a:lnTo>
                  <a:lnTo>
                    <a:pt x="360" y="560"/>
                  </a:lnTo>
                  <a:lnTo>
                    <a:pt x="360" y="557"/>
                  </a:lnTo>
                  <a:lnTo>
                    <a:pt x="354" y="554"/>
                  </a:lnTo>
                  <a:lnTo>
                    <a:pt x="352" y="554"/>
                  </a:lnTo>
                  <a:lnTo>
                    <a:pt x="349" y="551"/>
                  </a:lnTo>
                  <a:lnTo>
                    <a:pt x="352" y="545"/>
                  </a:lnTo>
                  <a:lnTo>
                    <a:pt x="346" y="542"/>
                  </a:lnTo>
                  <a:lnTo>
                    <a:pt x="346" y="548"/>
                  </a:lnTo>
                  <a:lnTo>
                    <a:pt x="349" y="554"/>
                  </a:lnTo>
                  <a:lnTo>
                    <a:pt x="352" y="560"/>
                  </a:lnTo>
                  <a:lnTo>
                    <a:pt x="354" y="566"/>
                  </a:lnTo>
                  <a:lnTo>
                    <a:pt x="352" y="572"/>
                  </a:lnTo>
                  <a:lnTo>
                    <a:pt x="352" y="578"/>
                  </a:lnTo>
                  <a:lnTo>
                    <a:pt x="349" y="581"/>
                  </a:lnTo>
                  <a:lnTo>
                    <a:pt x="349" y="575"/>
                  </a:lnTo>
                  <a:lnTo>
                    <a:pt x="349" y="572"/>
                  </a:lnTo>
                  <a:lnTo>
                    <a:pt x="349" y="566"/>
                  </a:lnTo>
                  <a:lnTo>
                    <a:pt x="346" y="572"/>
                  </a:lnTo>
                  <a:lnTo>
                    <a:pt x="346" y="575"/>
                  </a:lnTo>
                  <a:lnTo>
                    <a:pt x="346" y="581"/>
                  </a:lnTo>
                  <a:lnTo>
                    <a:pt x="349" y="587"/>
                  </a:lnTo>
                  <a:lnTo>
                    <a:pt x="346" y="587"/>
                  </a:lnTo>
                  <a:lnTo>
                    <a:pt x="340" y="587"/>
                  </a:lnTo>
                  <a:lnTo>
                    <a:pt x="337" y="587"/>
                  </a:lnTo>
                  <a:lnTo>
                    <a:pt x="340" y="593"/>
                  </a:lnTo>
                  <a:lnTo>
                    <a:pt x="340" y="596"/>
                  </a:lnTo>
                  <a:lnTo>
                    <a:pt x="340" y="599"/>
                  </a:lnTo>
                  <a:lnTo>
                    <a:pt x="340" y="601"/>
                  </a:lnTo>
                  <a:lnTo>
                    <a:pt x="346" y="604"/>
                  </a:lnTo>
                  <a:lnTo>
                    <a:pt x="346" y="607"/>
                  </a:lnTo>
                  <a:lnTo>
                    <a:pt x="346" y="613"/>
                  </a:lnTo>
                  <a:lnTo>
                    <a:pt x="346" y="619"/>
                  </a:lnTo>
                  <a:lnTo>
                    <a:pt x="346" y="622"/>
                  </a:lnTo>
                  <a:lnTo>
                    <a:pt x="340" y="619"/>
                  </a:lnTo>
                  <a:lnTo>
                    <a:pt x="340" y="613"/>
                  </a:lnTo>
                  <a:lnTo>
                    <a:pt x="334" y="610"/>
                  </a:lnTo>
                  <a:lnTo>
                    <a:pt x="334" y="613"/>
                  </a:lnTo>
                  <a:lnTo>
                    <a:pt x="337" y="613"/>
                  </a:lnTo>
                  <a:lnTo>
                    <a:pt x="337" y="616"/>
                  </a:lnTo>
                  <a:lnTo>
                    <a:pt x="334" y="616"/>
                  </a:lnTo>
                  <a:lnTo>
                    <a:pt x="331" y="613"/>
                  </a:lnTo>
                  <a:lnTo>
                    <a:pt x="331" y="610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596"/>
                  </a:lnTo>
                  <a:lnTo>
                    <a:pt x="328" y="590"/>
                  </a:lnTo>
                  <a:lnTo>
                    <a:pt x="331" y="584"/>
                  </a:lnTo>
                  <a:lnTo>
                    <a:pt x="331" y="575"/>
                  </a:lnTo>
                  <a:lnTo>
                    <a:pt x="328" y="575"/>
                  </a:lnTo>
                  <a:lnTo>
                    <a:pt x="325" y="572"/>
                  </a:lnTo>
                  <a:lnTo>
                    <a:pt x="328" y="569"/>
                  </a:lnTo>
                  <a:lnTo>
                    <a:pt x="331" y="566"/>
                  </a:lnTo>
                  <a:lnTo>
                    <a:pt x="334" y="563"/>
                  </a:lnTo>
                  <a:lnTo>
                    <a:pt x="337" y="560"/>
                  </a:lnTo>
                  <a:lnTo>
                    <a:pt x="334" y="563"/>
                  </a:lnTo>
                  <a:lnTo>
                    <a:pt x="328" y="566"/>
                  </a:lnTo>
                  <a:lnTo>
                    <a:pt x="322" y="572"/>
                  </a:lnTo>
                  <a:lnTo>
                    <a:pt x="325" y="578"/>
                  </a:lnTo>
                  <a:lnTo>
                    <a:pt x="325" y="581"/>
                  </a:lnTo>
                  <a:lnTo>
                    <a:pt x="325" y="584"/>
                  </a:lnTo>
                  <a:lnTo>
                    <a:pt x="322" y="587"/>
                  </a:lnTo>
                  <a:lnTo>
                    <a:pt x="316" y="584"/>
                  </a:lnTo>
                  <a:lnTo>
                    <a:pt x="319" y="581"/>
                  </a:lnTo>
                  <a:lnTo>
                    <a:pt x="319" y="575"/>
                  </a:lnTo>
                  <a:lnTo>
                    <a:pt x="316" y="572"/>
                  </a:lnTo>
                  <a:lnTo>
                    <a:pt x="316" y="569"/>
                  </a:lnTo>
                  <a:lnTo>
                    <a:pt x="319" y="563"/>
                  </a:lnTo>
                  <a:lnTo>
                    <a:pt x="319" y="557"/>
                  </a:lnTo>
                  <a:lnTo>
                    <a:pt x="322" y="551"/>
                  </a:lnTo>
                  <a:lnTo>
                    <a:pt x="325" y="548"/>
                  </a:lnTo>
                  <a:lnTo>
                    <a:pt x="322" y="542"/>
                  </a:lnTo>
                  <a:lnTo>
                    <a:pt x="319" y="551"/>
                  </a:lnTo>
                  <a:lnTo>
                    <a:pt x="316" y="557"/>
                  </a:lnTo>
                  <a:lnTo>
                    <a:pt x="316" y="566"/>
                  </a:lnTo>
                  <a:lnTo>
                    <a:pt x="316" y="572"/>
                  </a:lnTo>
                  <a:lnTo>
                    <a:pt x="313" y="575"/>
                  </a:lnTo>
                  <a:lnTo>
                    <a:pt x="316" y="581"/>
                  </a:lnTo>
                  <a:lnTo>
                    <a:pt x="316" y="590"/>
                  </a:lnTo>
                  <a:lnTo>
                    <a:pt x="310" y="584"/>
                  </a:lnTo>
                  <a:lnTo>
                    <a:pt x="313" y="587"/>
                  </a:lnTo>
                  <a:lnTo>
                    <a:pt x="316" y="590"/>
                  </a:lnTo>
                  <a:lnTo>
                    <a:pt x="313" y="596"/>
                  </a:lnTo>
                  <a:lnTo>
                    <a:pt x="310" y="599"/>
                  </a:lnTo>
                  <a:lnTo>
                    <a:pt x="310" y="601"/>
                  </a:lnTo>
                  <a:lnTo>
                    <a:pt x="304" y="599"/>
                  </a:lnTo>
                  <a:lnTo>
                    <a:pt x="304" y="596"/>
                  </a:lnTo>
                  <a:lnTo>
                    <a:pt x="307" y="590"/>
                  </a:lnTo>
                  <a:lnTo>
                    <a:pt x="307" y="584"/>
                  </a:lnTo>
                  <a:lnTo>
                    <a:pt x="304" y="587"/>
                  </a:lnTo>
                  <a:lnTo>
                    <a:pt x="304" y="593"/>
                  </a:lnTo>
                  <a:lnTo>
                    <a:pt x="301" y="599"/>
                  </a:lnTo>
                  <a:lnTo>
                    <a:pt x="301" y="604"/>
                  </a:lnTo>
                  <a:lnTo>
                    <a:pt x="301" y="610"/>
                  </a:lnTo>
                  <a:lnTo>
                    <a:pt x="301" y="616"/>
                  </a:lnTo>
                  <a:lnTo>
                    <a:pt x="301" y="622"/>
                  </a:lnTo>
                  <a:lnTo>
                    <a:pt x="301" y="625"/>
                  </a:lnTo>
                  <a:lnTo>
                    <a:pt x="295" y="628"/>
                  </a:lnTo>
                  <a:lnTo>
                    <a:pt x="293" y="625"/>
                  </a:lnTo>
                  <a:lnTo>
                    <a:pt x="293" y="622"/>
                  </a:lnTo>
                  <a:lnTo>
                    <a:pt x="293" y="616"/>
                  </a:lnTo>
                  <a:lnTo>
                    <a:pt x="293" y="607"/>
                  </a:lnTo>
                  <a:lnTo>
                    <a:pt x="293" y="601"/>
                  </a:lnTo>
                  <a:lnTo>
                    <a:pt x="293" y="596"/>
                  </a:lnTo>
                  <a:lnTo>
                    <a:pt x="290" y="601"/>
                  </a:lnTo>
                  <a:lnTo>
                    <a:pt x="290" y="604"/>
                  </a:lnTo>
                  <a:lnTo>
                    <a:pt x="287" y="607"/>
                  </a:lnTo>
                  <a:lnTo>
                    <a:pt x="284" y="610"/>
                  </a:lnTo>
                  <a:lnTo>
                    <a:pt x="281" y="610"/>
                  </a:lnTo>
                  <a:lnTo>
                    <a:pt x="284" y="601"/>
                  </a:lnTo>
                  <a:lnTo>
                    <a:pt x="281" y="599"/>
                  </a:lnTo>
                  <a:lnTo>
                    <a:pt x="281" y="604"/>
                  </a:lnTo>
                  <a:lnTo>
                    <a:pt x="281" y="607"/>
                  </a:lnTo>
                  <a:lnTo>
                    <a:pt x="281" y="613"/>
                  </a:lnTo>
                  <a:lnTo>
                    <a:pt x="281" y="616"/>
                  </a:lnTo>
                  <a:lnTo>
                    <a:pt x="284" y="619"/>
                  </a:lnTo>
                  <a:lnTo>
                    <a:pt x="284" y="625"/>
                  </a:lnTo>
                  <a:lnTo>
                    <a:pt x="287" y="631"/>
                  </a:lnTo>
                  <a:lnTo>
                    <a:pt x="284" y="634"/>
                  </a:lnTo>
                  <a:lnTo>
                    <a:pt x="281" y="634"/>
                  </a:lnTo>
                  <a:lnTo>
                    <a:pt x="278" y="631"/>
                  </a:lnTo>
                  <a:lnTo>
                    <a:pt x="278" y="625"/>
                  </a:lnTo>
                  <a:lnTo>
                    <a:pt x="278" y="622"/>
                  </a:lnTo>
                  <a:lnTo>
                    <a:pt x="275" y="619"/>
                  </a:lnTo>
                  <a:lnTo>
                    <a:pt x="275" y="613"/>
                  </a:lnTo>
                  <a:lnTo>
                    <a:pt x="272" y="607"/>
                  </a:lnTo>
                  <a:lnTo>
                    <a:pt x="269" y="601"/>
                  </a:lnTo>
                  <a:lnTo>
                    <a:pt x="269" y="599"/>
                  </a:lnTo>
                  <a:lnTo>
                    <a:pt x="269" y="596"/>
                  </a:lnTo>
                  <a:lnTo>
                    <a:pt x="266" y="590"/>
                  </a:lnTo>
                  <a:lnTo>
                    <a:pt x="269" y="587"/>
                  </a:lnTo>
                  <a:lnTo>
                    <a:pt x="272" y="581"/>
                  </a:lnTo>
                  <a:lnTo>
                    <a:pt x="272" y="575"/>
                  </a:lnTo>
                  <a:lnTo>
                    <a:pt x="269" y="569"/>
                  </a:lnTo>
                  <a:lnTo>
                    <a:pt x="269" y="563"/>
                  </a:lnTo>
                  <a:lnTo>
                    <a:pt x="266" y="560"/>
                  </a:lnTo>
                  <a:lnTo>
                    <a:pt x="257" y="560"/>
                  </a:lnTo>
                  <a:lnTo>
                    <a:pt x="254" y="560"/>
                  </a:lnTo>
                  <a:lnTo>
                    <a:pt x="251" y="560"/>
                  </a:lnTo>
                  <a:lnTo>
                    <a:pt x="245" y="557"/>
                  </a:lnTo>
                  <a:lnTo>
                    <a:pt x="242" y="554"/>
                  </a:lnTo>
                  <a:lnTo>
                    <a:pt x="239" y="548"/>
                  </a:lnTo>
                  <a:lnTo>
                    <a:pt x="239" y="542"/>
                  </a:lnTo>
                  <a:lnTo>
                    <a:pt x="233" y="542"/>
                  </a:lnTo>
                  <a:lnTo>
                    <a:pt x="233" y="540"/>
                  </a:lnTo>
                  <a:lnTo>
                    <a:pt x="233" y="534"/>
                  </a:lnTo>
                  <a:lnTo>
                    <a:pt x="231" y="531"/>
                  </a:lnTo>
                  <a:lnTo>
                    <a:pt x="231" y="537"/>
                  </a:lnTo>
                  <a:lnTo>
                    <a:pt x="231" y="540"/>
                  </a:lnTo>
                  <a:lnTo>
                    <a:pt x="233" y="542"/>
                  </a:lnTo>
                  <a:lnTo>
                    <a:pt x="236" y="545"/>
                  </a:lnTo>
                  <a:lnTo>
                    <a:pt x="236" y="548"/>
                  </a:lnTo>
                  <a:lnTo>
                    <a:pt x="236" y="554"/>
                  </a:lnTo>
                  <a:lnTo>
                    <a:pt x="239" y="557"/>
                  </a:lnTo>
                  <a:lnTo>
                    <a:pt x="245" y="563"/>
                  </a:lnTo>
                  <a:lnTo>
                    <a:pt x="248" y="566"/>
                  </a:lnTo>
                  <a:lnTo>
                    <a:pt x="260" y="569"/>
                  </a:lnTo>
                  <a:lnTo>
                    <a:pt x="266" y="569"/>
                  </a:lnTo>
                  <a:lnTo>
                    <a:pt x="266" y="575"/>
                  </a:lnTo>
                  <a:lnTo>
                    <a:pt x="266" y="578"/>
                  </a:lnTo>
                  <a:lnTo>
                    <a:pt x="260" y="584"/>
                  </a:lnTo>
                  <a:lnTo>
                    <a:pt x="257" y="584"/>
                  </a:lnTo>
                  <a:lnTo>
                    <a:pt x="254" y="584"/>
                  </a:lnTo>
                  <a:lnTo>
                    <a:pt x="248" y="578"/>
                  </a:lnTo>
                  <a:lnTo>
                    <a:pt x="245" y="578"/>
                  </a:lnTo>
                  <a:lnTo>
                    <a:pt x="236" y="575"/>
                  </a:lnTo>
                  <a:lnTo>
                    <a:pt x="239" y="578"/>
                  </a:lnTo>
                  <a:lnTo>
                    <a:pt x="245" y="581"/>
                  </a:lnTo>
                  <a:lnTo>
                    <a:pt x="248" y="584"/>
                  </a:lnTo>
                  <a:lnTo>
                    <a:pt x="251" y="584"/>
                  </a:lnTo>
                  <a:lnTo>
                    <a:pt x="254" y="590"/>
                  </a:lnTo>
                  <a:lnTo>
                    <a:pt x="251" y="596"/>
                  </a:lnTo>
                  <a:lnTo>
                    <a:pt x="245" y="604"/>
                  </a:lnTo>
                  <a:lnTo>
                    <a:pt x="242" y="607"/>
                  </a:lnTo>
                  <a:lnTo>
                    <a:pt x="239" y="610"/>
                  </a:lnTo>
                  <a:lnTo>
                    <a:pt x="236" y="613"/>
                  </a:lnTo>
                  <a:lnTo>
                    <a:pt x="236" y="619"/>
                  </a:lnTo>
                  <a:lnTo>
                    <a:pt x="231" y="622"/>
                  </a:lnTo>
                  <a:lnTo>
                    <a:pt x="225" y="625"/>
                  </a:lnTo>
                  <a:lnTo>
                    <a:pt x="222" y="628"/>
                  </a:lnTo>
                  <a:lnTo>
                    <a:pt x="216" y="628"/>
                  </a:lnTo>
                  <a:lnTo>
                    <a:pt x="213" y="631"/>
                  </a:lnTo>
                  <a:lnTo>
                    <a:pt x="204" y="631"/>
                  </a:lnTo>
                  <a:lnTo>
                    <a:pt x="201" y="634"/>
                  </a:lnTo>
                  <a:lnTo>
                    <a:pt x="195" y="634"/>
                  </a:lnTo>
                  <a:lnTo>
                    <a:pt x="195" y="631"/>
                  </a:lnTo>
                  <a:lnTo>
                    <a:pt x="192" y="625"/>
                  </a:lnTo>
                  <a:lnTo>
                    <a:pt x="189" y="622"/>
                  </a:lnTo>
                  <a:lnTo>
                    <a:pt x="189" y="616"/>
                  </a:lnTo>
                  <a:lnTo>
                    <a:pt x="186" y="613"/>
                  </a:lnTo>
                  <a:lnTo>
                    <a:pt x="180" y="610"/>
                  </a:lnTo>
                  <a:lnTo>
                    <a:pt x="174" y="610"/>
                  </a:lnTo>
                  <a:lnTo>
                    <a:pt x="169" y="610"/>
                  </a:lnTo>
                  <a:lnTo>
                    <a:pt x="166" y="604"/>
                  </a:lnTo>
                  <a:lnTo>
                    <a:pt x="160" y="599"/>
                  </a:lnTo>
                  <a:lnTo>
                    <a:pt x="160" y="596"/>
                  </a:lnTo>
                  <a:lnTo>
                    <a:pt x="157" y="596"/>
                  </a:lnTo>
                  <a:lnTo>
                    <a:pt x="151" y="599"/>
                  </a:lnTo>
                  <a:lnTo>
                    <a:pt x="151" y="601"/>
                  </a:lnTo>
                  <a:lnTo>
                    <a:pt x="151" y="607"/>
                  </a:lnTo>
                  <a:lnTo>
                    <a:pt x="145" y="607"/>
                  </a:lnTo>
                  <a:lnTo>
                    <a:pt x="142" y="604"/>
                  </a:lnTo>
                  <a:lnTo>
                    <a:pt x="139" y="601"/>
                  </a:lnTo>
                  <a:lnTo>
                    <a:pt x="139" y="599"/>
                  </a:lnTo>
                  <a:lnTo>
                    <a:pt x="142" y="596"/>
                  </a:lnTo>
                  <a:lnTo>
                    <a:pt x="142" y="590"/>
                  </a:lnTo>
                  <a:lnTo>
                    <a:pt x="139" y="587"/>
                  </a:lnTo>
                  <a:lnTo>
                    <a:pt x="133" y="584"/>
                  </a:lnTo>
                  <a:lnTo>
                    <a:pt x="130" y="581"/>
                  </a:lnTo>
                  <a:lnTo>
                    <a:pt x="121" y="581"/>
                  </a:lnTo>
                  <a:lnTo>
                    <a:pt x="115" y="578"/>
                  </a:lnTo>
                  <a:lnTo>
                    <a:pt x="110" y="575"/>
                  </a:lnTo>
                  <a:lnTo>
                    <a:pt x="107" y="572"/>
                  </a:lnTo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7" name="Freeform 138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416553" y="1466396"/>
              <a:ext cx="83770" cy="65843"/>
            </a:xfrm>
            <a:custGeom>
              <a:avLst/>
              <a:gdLst>
                <a:gd name="T0" fmla="*/ 6 w 507"/>
                <a:gd name="T1" fmla="*/ 307 h 371"/>
                <a:gd name="T2" fmla="*/ 6 w 507"/>
                <a:gd name="T3" fmla="*/ 259 h 371"/>
                <a:gd name="T4" fmla="*/ 53 w 507"/>
                <a:gd name="T5" fmla="*/ 227 h 371"/>
                <a:gd name="T6" fmla="*/ 71 w 507"/>
                <a:gd name="T7" fmla="*/ 209 h 371"/>
                <a:gd name="T8" fmla="*/ 88 w 507"/>
                <a:gd name="T9" fmla="*/ 203 h 371"/>
                <a:gd name="T10" fmla="*/ 97 w 507"/>
                <a:gd name="T11" fmla="*/ 200 h 371"/>
                <a:gd name="T12" fmla="*/ 118 w 507"/>
                <a:gd name="T13" fmla="*/ 203 h 371"/>
                <a:gd name="T14" fmla="*/ 133 w 507"/>
                <a:gd name="T15" fmla="*/ 194 h 371"/>
                <a:gd name="T16" fmla="*/ 118 w 507"/>
                <a:gd name="T17" fmla="*/ 183 h 371"/>
                <a:gd name="T18" fmla="*/ 100 w 507"/>
                <a:gd name="T19" fmla="*/ 180 h 371"/>
                <a:gd name="T20" fmla="*/ 79 w 507"/>
                <a:gd name="T21" fmla="*/ 165 h 371"/>
                <a:gd name="T22" fmla="*/ 71 w 507"/>
                <a:gd name="T23" fmla="*/ 144 h 371"/>
                <a:gd name="T24" fmla="*/ 71 w 507"/>
                <a:gd name="T25" fmla="*/ 127 h 371"/>
                <a:gd name="T26" fmla="*/ 77 w 507"/>
                <a:gd name="T27" fmla="*/ 100 h 371"/>
                <a:gd name="T28" fmla="*/ 106 w 507"/>
                <a:gd name="T29" fmla="*/ 94 h 371"/>
                <a:gd name="T30" fmla="*/ 88 w 507"/>
                <a:gd name="T31" fmla="*/ 73 h 371"/>
                <a:gd name="T32" fmla="*/ 65 w 507"/>
                <a:gd name="T33" fmla="*/ 50 h 371"/>
                <a:gd name="T34" fmla="*/ 53 w 507"/>
                <a:gd name="T35" fmla="*/ 32 h 371"/>
                <a:gd name="T36" fmla="*/ 44 w 507"/>
                <a:gd name="T37" fmla="*/ 14 h 371"/>
                <a:gd name="T38" fmla="*/ 59 w 507"/>
                <a:gd name="T39" fmla="*/ 9 h 371"/>
                <a:gd name="T40" fmla="*/ 74 w 507"/>
                <a:gd name="T41" fmla="*/ 3 h 371"/>
                <a:gd name="T42" fmla="*/ 88 w 507"/>
                <a:gd name="T43" fmla="*/ 14 h 371"/>
                <a:gd name="T44" fmla="*/ 106 w 507"/>
                <a:gd name="T45" fmla="*/ 17 h 371"/>
                <a:gd name="T46" fmla="*/ 130 w 507"/>
                <a:gd name="T47" fmla="*/ 32 h 371"/>
                <a:gd name="T48" fmla="*/ 127 w 507"/>
                <a:gd name="T49" fmla="*/ 53 h 371"/>
                <a:gd name="T50" fmla="*/ 144 w 507"/>
                <a:gd name="T51" fmla="*/ 53 h 371"/>
                <a:gd name="T52" fmla="*/ 165 w 507"/>
                <a:gd name="T53" fmla="*/ 65 h 371"/>
                <a:gd name="T54" fmla="*/ 174 w 507"/>
                <a:gd name="T55" fmla="*/ 68 h 371"/>
                <a:gd name="T56" fmla="*/ 186 w 507"/>
                <a:gd name="T57" fmla="*/ 79 h 371"/>
                <a:gd name="T58" fmla="*/ 209 w 507"/>
                <a:gd name="T59" fmla="*/ 76 h 371"/>
                <a:gd name="T60" fmla="*/ 230 w 507"/>
                <a:gd name="T61" fmla="*/ 65 h 371"/>
                <a:gd name="T62" fmla="*/ 242 w 507"/>
                <a:gd name="T63" fmla="*/ 76 h 371"/>
                <a:gd name="T64" fmla="*/ 248 w 507"/>
                <a:gd name="T65" fmla="*/ 94 h 371"/>
                <a:gd name="T66" fmla="*/ 259 w 507"/>
                <a:gd name="T67" fmla="*/ 94 h 371"/>
                <a:gd name="T68" fmla="*/ 277 w 507"/>
                <a:gd name="T69" fmla="*/ 88 h 371"/>
                <a:gd name="T70" fmla="*/ 295 w 507"/>
                <a:gd name="T71" fmla="*/ 91 h 371"/>
                <a:gd name="T72" fmla="*/ 319 w 507"/>
                <a:gd name="T73" fmla="*/ 97 h 371"/>
                <a:gd name="T74" fmla="*/ 339 w 507"/>
                <a:gd name="T75" fmla="*/ 106 h 371"/>
                <a:gd name="T76" fmla="*/ 360 w 507"/>
                <a:gd name="T77" fmla="*/ 106 h 371"/>
                <a:gd name="T78" fmla="*/ 378 w 507"/>
                <a:gd name="T79" fmla="*/ 91 h 371"/>
                <a:gd name="T80" fmla="*/ 392 w 507"/>
                <a:gd name="T81" fmla="*/ 109 h 371"/>
                <a:gd name="T82" fmla="*/ 413 w 507"/>
                <a:gd name="T83" fmla="*/ 112 h 371"/>
                <a:gd name="T84" fmla="*/ 431 w 507"/>
                <a:gd name="T85" fmla="*/ 106 h 371"/>
                <a:gd name="T86" fmla="*/ 445 w 507"/>
                <a:gd name="T87" fmla="*/ 103 h 371"/>
                <a:gd name="T88" fmla="*/ 457 w 507"/>
                <a:gd name="T89" fmla="*/ 97 h 371"/>
                <a:gd name="T90" fmla="*/ 469 w 507"/>
                <a:gd name="T91" fmla="*/ 100 h 371"/>
                <a:gd name="T92" fmla="*/ 484 w 507"/>
                <a:gd name="T93" fmla="*/ 103 h 371"/>
                <a:gd name="T94" fmla="*/ 490 w 507"/>
                <a:gd name="T95" fmla="*/ 88 h 371"/>
                <a:gd name="T96" fmla="*/ 507 w 507"/>
                <a:gd name="T97" fmla="*/ 106 h 371"/>
                <a:gd name="T98" fmla="*/ 469 w 507"/>
                <a:gd name="T99" fmla="*/ 150 h 371"/>
                <a:gd name="T100" fmla="*/ 490 w 507"/>
                <a:gd name="T101" fmla="*/ 177 h 371"/>
                <a:gd name="T102" fmla="*/ 469 w 507"/>
                <a:gd name="T103" fmla="*/ 209 h 371"/>
                <a:gd name="T104" fmla="*/ 466 w 507"/>
                <a:gd name="T105" fmla="*/ 236 h 371"/>
                <a:gd name="T106" fmla="*/ 454 w 507"/>
                <a:gd name="T107" fmla="*/ 248 h 371"/>
                <a:gd name="T108" fmla="*/ 395 w 507"/>
                <a:gd name="T109" fmla="*/ 274 h 371"/>
                <a:gd name="T110" fmla="*/ 357 w 507"/>
                <a:gd name="T111" fmla="*/ 336 h 371"/>
                <a:gd name="T112" fmla="*/ 313 w 507"/>
                <a:gd name="T113" fmla="*/ 351 h 371"/>
                <a:gd name="T114" fmla="*/ 265 w 507"/>
                <a:gd name="T115" fmla="*/ 312 h 371"/>
                <a:gd name="T116" fmla="*/ 183 w 507"/>
                <a:gd name="T117" fmla="*/ 363 h 371"/>
                <a:gd name="T118" fmla="*/ 130 w 507"/>
                <a:gd name="T119" fmla="*/ 371 h 371"/>
                <a:gd name="T120" fmla="*/ 32 w 507"/>
                <a:gd name="T121" fmla="*/ 348 h 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7"/>
                <a:gd name="T184" fmla="*/ 0 h 371"/>
                <a:gd name="T185" fmla="*/ 507 w 507"/>
                <a:gd name="T186" fmla="*/ 371 h 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7" h="371">
                  <a:moveTo>
                    <a:pt x="20" y="339"/>
                  </a:moveTo>
                  <a:lnTo>
                    <a:pt x="23" y="330"/>
                  </a:lnTo>
                  <a:lnTo>
                    <a:pt x="20" y="324"/>
                  </a:lnTo>
                  <a:lnTo>
                    <a:pt x="20" y="318"/>
                  </a:lnTo>
                  <a:lnTo>
                    <a:pt x="17" y="315"/>
                  </a:lnTo>
                  <a:lnTo>
                    <a:pt x="15" y="312"/>
                  </a:lnTo>
                  <a:lnTo>
                    <a:pt x="9" y="310"/>
                  </a:lnTo>
                  <a:lnTo>
                    <a:pt x="6" y="307"/>
                  </a:lnTo>
                  <a:lnTo>
                    <a:pt x="3" y="301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0" y="280"/>
                  </a:lnTo>
                  <a:lnTo>
                    <a:pt x="0" y="274"/>
                  </a:lnTo>
                  <a:lnTo>
                    <a:pt x="3" y="265"/>
                  </a:lnTo>
                  <a:lnTo>
                    <a:pt x="3" y="262"/>
                  </a:lnTo>
                  <a:lnTo>
                    <a:pt x="6" y="259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2" y="236"/>
                  </a:lnTo>
                  <a:lnTo>
                    <a:pt x="38" y="233"/>
                  </a:lnTo>
                  <a:lnTo>
                    <a:pt x="44" y="230"/>
                  </a:lnTo>
                  <a:lnTo>
                    <a:pt x="47" y="227"/>
                  </a:lnTo>
                  <a:lnTo>
                    <a:pt x="50" y="227"/>
                  </a:lnTo>
                  <a:lnTo>
                    <a:pt x="53" y="227"/>
                  </a:lnTo>
                  <a:lnTo>
                    <a:pt x="56" y="227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62" y="221"/>
                  </a:lnTo>
                  <a:lnTo>
                    <a:pt x="65" y="218"/>
                  </a:lnTo>
                  <a:lnTo>
                    <a:pt x="68" y="215"/>
                  </a:lnTo>
                  <a:lnTo>
                    <a:pt x="68" y="212"/>
                  </a:lnTo>
                  <a:lnTo>
                    <a:pt x="71" y="209"/>
                  </a:lnTo>
                  <a:lnTo>
                    <a:pt x="74" y="209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79" y="203"/>
                  </a:lnTo>
                  <a:lnTo>
                    <a:pt x="82" y="203"/>
                  </a:lnTo>
                  <a:lnTo>
                    <a:pt x="85" y="203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4" y="206"/>
                  </a:lnTo>
                  <a:lnTo>
                    <a:pt x="94" y="209"/>
                  </a:lnTo>
                  <a:lnTo>
                    <a:pt x="97" y="209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97" y="203"/>
                  </a:lnTo>
                  <a:lnTo>
                    <a:pt x="97" y="200"/>
                  </a:lnTo>
                  <a:lnTo>
                    <a:pt x="100" y="200"/>
                  </a:lnTo>
                  <a:lnTo>
                    <a:pt x="103" y="197"/>
                  </a:lnTo>
                  <a:lnTo>
                    <a:pt x="106" y="197"/>
                  </a:lnTo>
                  <a:lnTo>
                    <a:pt x="106" y="200"/>
                  </a:lnTo>
                  <a:lnTo>
                    <a:pt x="109" y="203"/>
                  </a:lnTo>
                  <a:lnTo>
                    <a:pt x="112" y="203"/>
                  </a:lnTo>
                  <a:lnTo>
                    <a:pt x="115" y="203"/>
                  </a:lnTo>
                  <a:lnTo>
                    <a:pt x="118" y="203"/>
                  </a:lnTo>
                  <a:lnTo>
                    <a:pt x="121" y="203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7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3" y="194"/>
                  </a:lnTo>
                  <a:lnTo>
                    <a:pt x="130" y="194"/>
                  </a:lnTo>
                  <a:lnTo>
                    <a:pt x="130" y="191"/>
                  </a:lnTo>
                  <a:lnTo>
                    <a:pt x="127" y="191"/>
                  </a:lnTo>
                  <a:lnTo>
                    <a:pt x="124" y="189"/>
                  </a:lnTo>
                  <a:lnTo>
                    <a:pt x="121" y="186"/>
                  </a:lnTo>
                  <a:lnTo>
                    <a:pt x="121" y="183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15" y="183"/>
                  </a:lnTo>
                  <a:lnTo>
                    <a:pt x="115" y="180"/>
                  </a:lnTo>
                  <a:lnTo>
                    <a:pt x="112" y="183"/>
                  </a:lnTo>
                  <a:lnTo>
                    <a:pt x="112" y="180"/>
                  </a:lnTo>
                  <a:lnTo>
                    <a:pt x="109" y="180"/>
                  </a:lnTo>
                  <a:lnTo>
                    <a:pt x="106" y="180"/>
                  </a:lnTo>
                  <a:lnTo>
                    <a:pt x="103" y="180"/>
                  </a:lnTo>
                  <a:lnTo>
                    <a:pt x="100" y="180"/>
                  </a:lnTo>
                  <a:lnTo>
                    <a:pt x="94" y="180"/>
                  </a:lnTo>
                  <a:lnTo>
                    <a:pt x="91" y="177"/>
                  </a:lnTo>
                  <a:lnTo>
                    <a:pt x="91" y="174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68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1" y="162"/>
                  </a:lnTo>
                  <a:lnTo>
                    <a:pt x="71" y="159"/>
                  </a:lnTo>
                  <a:lnTo>
                    <a:pt x="71" y="150"/>
                  </a:lnTo>
                  <a:lnTo>
                    <a:pt x="68" y="150"/>
                  </a:lnTo>
                  <a:lnTo>
                    <a:pt x="71" y="144"/>
                  </a:lnTo>
                  <a:lnTo>
                    <a:pt x="74" y="144"/>
                  </a:lnTo>
                  <a:lnTo>
                    <a:pt x="77" y="138"/>
                  </a:lnTo>
                  <a:lnTo>
                    <a:pt x="79" y="141"/>
                  </a:lnTo>
                  <a:lnTo>
                    <a:pt x="85" y="135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5" y="121"/>
                  </a:lnTo>
                  <a:lnTo>
                    <a:pt x="59" y="121"/>
                  </a:lnTo>
                  <a:lnTo>
                    <a:pt x="56" y="115"/>
                  </a:lnTo>
                  <a:lnTo>
                    <a:pt x="56" y="109"/>
                  </a:lnTo>
                  <a:lnTo>
                    <a:pt x="65" y="109"/>
                  </a:lnTo>
                  <a:lnTo>
                    <a:pt x="71" y="106"/>
                  </a:lnTo>
                  <a:lnTo>
                    <a:pt x="74" y="100"/>
                  </a:lnTo>
                  <a:lnTo>
                    <a:pt x="77" y="100"/>
                  </a:lnTo>
                  <a:lnTo>
                    <a:pt x="82" y="100"/>
                  </a:lnTo>
                  <a:lnTo>
                    <a:pt x="88" y="100"/>
                  </a:lnTo>
                  <a:lnTo>
                    <a:pt x="94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6" y="100"/>
                  </a:lnTo>
                  <a:lnTo>
                    <a:pt x="106" y="97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0" y="91"/>
                  </a:lnTo>
                  <a:lnTo>
                    <a:pt x="97" y="85"/>
                  </a:lnTo>
                  <a:lnTo>
                    <a:pt x="91" y="88"/>
                  </a:lnTo>
                  <a:lnTo>
                    <a:pt x="82" y="85"/>
                  </a:lnTo>
                  <a:lnTo>
                    <a:pt x="85" y="82"/>
                  </a:lnTo>
                  <a:lnTo>
                    <a:pt x="88" y="76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74" y="73"/>
                  </a:lnTo>
                  <a:lnTo>
                    <a:pt x="71" y="70"/>
                  </a:lnTo>
                  <a:lnTo>
                    <a:pt x="71" y="68"/>
                  </a:lnTo>
                  <a:lnTo>
                    <a:pt x="68" y="62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5" y="50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6" y="44"/>
                  </a:lnTo>
                  <a:lnTo>
                    <a:pt x="59" y="41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56" y="32"/>
                  </a:lnTo>
                  <a:lnTo>
                    <a:pt x="53" y="32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6" y="23"/>
                  </a:lnTo>
                  <a:lnTo>
                    <a:pt x="53" y="23"/>
                  </a:lnTo>
                  <a:lnTo>
                    <a:pt x="47" y="20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4" y="14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3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62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9"/>
                  </a:lnTo>
                  <a:lnTo>
                    <a:pt x="82" y="9"/>
                  </a:lnTo>
                  <a:lnTo>
                    <a:pt x="85" y="9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4" y="14"/>
                  </a:lnTo>
                  <a:lnTo>
                    <a:pt x="97" y="14"/>
                  </a:lnTo>
                  <a:lnTo>
                    <a:pt x="100" y="17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7"/>
                  </a:lnTo>
                  <a:lnTo>
                    <a:pt x="109" y="17"/>
                  </a:lnTo>
                  <a:lnTo>
                    <a:pt x="112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17"/>
                  </a:lnTo>
                  <a:lnTo>
                    <a:pt x="124" y="20"/>
                  </a:lnTo>
                  <a:lnTo>
                    <a:pt x="127" y="23"/>
                  </a:lnTo>
                  <a:lnTo>
                    <a:pt x="130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0" y="41"/>
                  </a:lnTo>
                  <a:lnTo>
                    <a:pt x="130" y="44"/>
                  </a:lnTo>
                  <a:lnTo>
                    <a:pt x="130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6" y="53"/>
                  </a:lnTo>
                  <a:lnTo>
                    <a:pt x="138" y="56"/>
                  </a:lnTo>
                  <a:lnTo>
                    <a:pt x="138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7" y="53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62" y="62"/>
                  </a:lnTo>
                  <a:lnTo>
                    <a:pt x="162" y="65"/>
                  </a:lnTo>
                  <a:lnTo>
                    <a:pt x="165" y="65"/>
                  </a:lnTo>
                  <a:lnTo>
                    <a:pt x="165" y="68"/>
                  </a:lnTo>
                  <a:lnTo>
                    <a:pt x="168" y="68"/>
                  </a:lnTo>
                  <a:lnTo>
                    <a:pt x="171" y="68"/>
                  </a:lnTo>
                  <a:lnTo>
                    <a:pt x="168" y="68"/>
                  </a:lnTo>
                  <a:lnTo>
                    <a:pt x="168" y="70"/>
                  </a:lnTo>
                  <a:lnTo>
                    <a:pt x="171" y="70"/>
                  </a:lnTo>
                  <a:lnTo>
                    <a:pt x="174" y="70"/>
                  </a:lnTo>
                  <a:lnTo>
                    <a:pt x="174" y="68"/>
                  </a:lnTo>
                  <a:lnTo>
                    <a:pt x="177" y="68"/>
                  </a:lnTo>
                  <a:lnTo>
                    <a:pt x="180" y="68"/>
                  </a:lnTo>
                  <a:lnTo>
                    <a:pt x="183" y="68"/>
                  </a:lnTo>
                  <a:lnTo>
                    <a:pt x="183" y="70"/>
                  </a:lnTo>
                  <a:lnTo>
                    <a:pt x="186" y="73"/>
                  </a:lnTo>
                  <a:lnTo>
                    <a:pt x="183" y="73"/>
                  </a:lnTo>
                  <a:lnTo>
                    <a:pt x="183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79"/>
                  </a:lnTo>
                  <a:lnTo>
                    <a:pt x="206" y="76"/>
                  </a:lnTo>
                  <a:lnTo>
                    <a:pt x="209" y="76"/>
                  </a:lnTo>
                  <a:lnTo>
                    <a:pt x="212" y="76"/>
                  </a:lnTo>
                  <a:lnTo>
                    <a:pt x="215" y="73"/>
                  </a:lnTo>
                  <a:lnTo>
                    <a:pt x="218" y="73"/>
                  </a:lnTo>
                  <a:lnTo>
                    <a:pt x="221" y="70"/>
                  </a:lnTo>
                  <a:lnTo>
                    <a:pt x="224" y="68"/>
                  </a:lnTo>
                  <a:lnTo>
                    <a:pt x="227" y="68"/>
                  </a:lnTo>
                  <a:lnTo>
                    <a:pt x="227" y="65"/>
                  </a:lnTo>
                  <a:lnTo>
                    <a:pt x="230" y="65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6" y="68"/>
                  </a:lnTo>
                  <a:lnTo>
                    <a:pt x="236" y="70"/>
                  </a:lnTo>
                  <a:lnTo>
                    <a:pt x="239" y="70"/>
                  </a:lnTo>
                  <a:lnTo>
                    <a:pt x="239" y="73"/>
                  </a:lnTo>
                  <a:lnTo>
                    <a:pt x="242" y="73"/>
                  </a:lnTo>
                  <a:lnTo>
                    <a:pt x="242" y="76"/>
                  </a:lnTo>
                  <a:lnTo>
                    <a:pt x="242" y="79"/>
                  </a:lnTo>
                  <a:lnTo>
                    <a:pt x="242" y="82"/>
                  </a:lnTo>
                  <a:lnTo>
                    <a:pt x="239" y="85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5" y="91"/>
                  </a:lnTo>
                  <a:lnTo>
                    <a:pt x="248" y="91"/>
                  </a:lnTo>
                  <a:lnTo>
                    <a:pt x="248" y="94"/>
                  </a:lnTo>
                  <a:lnTo>
                    <a:pt x="251" y="94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4" y="100"/>
                  </a:lnTo>
                  <a:lnTo>
                    <a:pt x="257" y="100"/>
                  </a:lnTo>
                  <a:lnTo>
                    <a:pt x="257" y="97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5" y="88"/>
                  </a:lnTo>
                  <a:lnTo>
                    <a:pt x="268" y="88"/>
                  </a:lnTo>
                  <a:lnTo>
                    <a:pt x="271" y="88"/>
                  </a:lnTo>
                  <a:lnTo>
                    <a:pt x="274" y="88"/>
                  </a:lnTo>
                  <a:lnTo>
                    <a:pt x="277" y="88"/>
                  </a:lnTo>
                  <a:lnTo>
                    <a:pt x="280" y="91"/>
                  </a:lnTo>
                  <a:lnTo>
                    <a:pt x="283" y="91"/>
                  </a:lnTo>
                  <a:lnTo>
                    <a:pt x="286" y="94"/>
                  </a:lnTo>
                  <a:lnTo>
                    <a:pt x="286" y="91"/>
                  </a:lnTo>
                  <a:lnTo>
                    <a:pt x="289" y="91"/>
                  </a:lnTo>
                  <a:lnTo>
                    <a:pt x="292" y="94"/>
                  </a:lnTo>
                  <a:lnTo>
                    <a:pt x="295" y="94"/>
                  </a:lnTo>
                  <a:lnTo>
                    <a:pt x="295" y="91"/>
                  </a:lnTo>
                  <a:lnTo>
                    <a:pt x="298" y="91"/>
                  </a:lnTo>
                  <a:lnTo>
                    <a:pt x="301" y="91"/>
                  </a:lnTo>
                  <a:lnTo>
                    <a:pt x="304" y="91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6" y="94"/>
                  </a:lnTo>
                  <a:lnTo>
                    <a:pt x="319" y="97"/>
                  </a:lnTo>
                  <a:lnTo>
                    <a:pt x="321" y="97"/>
                  </a:lnTo>
                  <a:lnTo>
                    <a:pt x="324" y="97"/>
                  </a:lnTo>
                  <a:lnTo>
                    <a:pt x="327" y="100"/>
                  </a:lnTo>
                  <a:lnTo>
                    <a:pt x="330" y="103"/>
                  </a:lnTo>
                  <a:lnTo>
                    <a:pt x="333" y="103"/>
                  </a:lnTo>
                  <a:lnTo>
                    <a:pt x="336" y="103"/>
                  </a:lnTo>
                  <a:lnTo>
                    <a:pt x="336" y="106"/>
                  </a:lnTo>
                  <a:lnTo>
                    <a:pt x="339" y="106"/>
                  </a:lnTo>
                  <a:lnTo>
                    <a:pt x="342" y="106"/>
                  </a:lnTo>
                  <a:lnTo>
                    <a:pt x="342" y="109"/>
                  </a:lnTo>
                  <a:lnTo>
                    <a:pt x="345" y="109"/>
                  </a:lnTo>
                  <a:lnTo>
                    <a:pt x="348" y="109"/>
                  </a:lnTo>
                  <a:lnTo>
                    <a:pt x="351" y="106"/>
                  </a:lnTo>
                  <a:lnTo>
                    <a:pt x="354" y="106"/>
                  </a:lnTo>
                  <a:lnTo>
                    <a:pt x="357" y="109"/>
                  </a:lnTo>
                  <a:lnTo>
                    <a:pt x="360" y="106"/>
                  </a:lnTo>
                  <a:lnTo>
                    <a:pt x="363" y="106"/>
                  </a:lnTo>
                  <a:lnTo>
                    <a:pt x="363" y="100"/>
                  </a:lnTo>
                  <a:lnTo>
                    <a:pt x="366" y="100"/>
                  </a:lnTo>
                  <a:lnTo>
                    <a:pt x="369" y="97"/>
                  </a:lnTo>
                  <a:lnTo>
                    <a:pt x="372" y="97"/>
                  </a:lnTo>
                  <a:lnTo>
                    <a:pt x="375" y="97"/>
                  </a:lnTo>
                  <a:lnTo>
                    <a:pt x="378" y="94"/>
                  </a:lnTo>
                  <a:lnTo>
                    <a:pt x="378" y="91"/>
                  </a:lnTo>
                  <a:lnTo>
                    <a:pt x="380" y="88"/>
                  </a:lnTo>
                  <a:lnTo>
                    <a:pt x="380" y="94"/>
                  </a:lnTo>
                  <a:lnTo>
                    <a:pt x="383" y="94"/>
                  </a:lnTo>
                  <a:lnTo>
                    <a:pt x="383" y="100"/>
                  </a:lnTo>
                  <a:lnTo>
                    <a:pt x="383" y="103"/>
                  </a:lnTo>
                  <a:lnTo>
                    <a:pt x="386" y="106"/>
                  </a:lnTo>
                  <a:lnTo>
                    <a:pt x="389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401" y="109"/>
                  </a:lnTo>
                  <a:lnTo>
                    <a:pt x="404" y="109"/>
                  </a:lnTo>
                  <a:lnTo>
                    <a:pt x="404" y="112"/>
                  </a:lnTo>
                  <a:lnTo>
                    <a:pt x="407" y="112"/>
                  </a:lnTo>
                  <a:lnTo>
                    <a:pt x="410" y="115"/>
                  </a:lnTo>
                  <a:lnTo>
                    <a:pt x="413" y="112"/>
                  </a:lnTo>
                  <a:lnTo>
                    <a:pt x="413" y="109"/>
                  </a:lnTo>
                  <a:lnTo>
                    <a:pt x="416" y="106"/>
                  </a:lnTo>
                  <a:lnTo>
                    <a:pt x="419" y="106"/>
                  </a:lnTo>
                  <a:lnTo>
                    <a:pt x="422" y="106"/>
                  </a:lnTo>
                  <a:lnTo>
                    <a:pt x="422" y="103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6"/>
                  </a:lnTo>
                  <a:lnTo>
                    <a:pt x="434" y="106"/>
                  </a:lnTo>
                  <a:lnTo>
                    <a:pt x="434" y="109"/>
                  </a:lnTo>
                  <a:lnTo>
                    <a:pt x="437" y="109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2" y="106"/>
                  </a:lnTo>
                  <a:lnTo>
                    <a:pt x="445" y="106"/>
                  </a:lnTo>
                  <a:lnTo>
                    <a:pt x="445" y="103"/>
                  </a:lnTo>
                  <a:lnTo>
                    <a:pt x="448" y="103"/>
                  </a:lnTo>
                  <a:lnTo>
                    <a:pt x="451" y="106"/>
                  </a:lnTo>
                  <a:lnTo>
                    <a:pt x="451" y="103"/>
                  </a:lnTo>
                  <a:lnTo>
                    <a:pt x="454" y="106"/>
                  </a:lnTo>
                  <a:lnTo>
                    <a:pt x="454" y="103"/>
                  </a:lnTo>
                  <a:lnTo>
                    <a:pt x="454" y="100"/>
                  </a:lnTo>
                  <a:lnTo>
                    <a:pt x="457" y="100"/>
                  </a:lnTo>
                  <a:lnTo>
                    <a:pt x="457" y="97"/>
                  </a:lnTo>
                  <a:lnTo>
                    <a:pt x="460" y="97"/>
                  </a:lnTo>
                  <a:lnTo>
                    <a:pt x="460" y="100"/>
                  </a:lnTo>
                  <a:lnTo>
                    <a:pt x="463" y="100"/>
                  </a:lnTo>
                  <a:lnTo>
                    <a:pt x="463" y="97"/>
                  </a:lnTo>
                  <a:lnTo>
                    <a:pt x="466" y="97"/>
                  </a:lnTo>
                  <a:lnTo>
                    <a:pt x="466" y="94"/>
                  </a:lnTo>
                  <a:lnTo>
                    <a:pt x="469" y="97"/>
                  </a:lnTo>
                  <a:lnTo>
                    <a:pt x="469" y="100"/>
                  </a:lnTo>
                  <a:lnTo>
                    <a:pt x="472" y="100"/>
                  </a:lnTo>
                  <a:lnTo>
                    <a:pt x="469" y="100"/>
                  </a:lnTo>
                  <a:lnTo>
                    <a:pt x="472" y="103"/>
                  </a:lnTo>
                  <a:lnTo>
                    <a:pt x="475" y="103"/>
                  </a:lnTo>
                  <a:lnTo>
                    <a:pt x="478" y="106"/>
                  </a:lnTo>
                  <a:lnTo>
                    <a:pt x="481" y="109"/>
                  </a:lnTo>
                  <a:lnTo>
                    <a:pt x="481" y="106"/>
                  </a:lnTo>
                  <a:lnTo>
                    <a:pt x="484" y="103"/>
                  </a:lnTo>
                  <a:lnTo>
                    <a:pt x="487" y="100"/>
                  </a:lnTo>
                  <a:lnTo>
                    <a:pt x="490" y="100"/>
                  </a:lnTo>
                  <a:lnTo>
                    <a:pt x="487" y="97"/>
                  </a:lnTo>
                  <a:lnTo>
                    <a:pt x="490" y="97"/>
                  </a:lnTo>
                  <a:lnTo>
                    <a:pt x="487" y="97"/>
                  </a:lnTo>
                  <a:lnTo>
                    <a:pt x="490" y="94"/>
                  </a:lnTo>
                  <a:lnTo>
                    <a:pt x="487" y="91"/>
                  </a:lnTo>
                  <a:lnTo>
                    <a:pt x="490" y="88"/>
                  </a:lnTo>
                  <a:lnTo>
                    <a:pt x="490" y="85"/>
                  </a:lnTo>
                  <a:lnTo>
                    <a:pt x="493" y="85"/>
                  </a:lnTo>
                  <a:lnTo>
                    <a:pt x="496" y="88"/>
                  </a:lnTo>
                  <a:lnTo>
                    <a:pt x="501" y="91"/>
                  </a:lnTo>
                  <a:lnTo>
                    <a:pt x="507" y="97"/>
                  </a:lnTo>
                  <a:lnTo>
                    <a:pt x="504" y="100"/>
                  </a:lnTo>
                  <a:lnTo>
                    <a:pt x="507" y="103"/>
                  </a:lnTo>
                  <a:lnTo>
                    <a:pt x="507" y="106"/>
                  </a:lnTo>
                  <a:lnTo>
                    <a:pt x="504" y="109"/>
                  </a:lnTo>
                  <a:lnTo>
                    <a:pt x="499" y="115"/>
                  </a:lnTo>
                  <a:lnTo>
                    <a:pt x="487" y="127"/>
                  </a:lnTo>
                  <a:lnTo>
                    <a:pt x="478" y="132"/>
                  </a:lnTo>
                  <a:lnTo>
                    <a:pt x="475" y="135"/>
                  </a:lnTo>
                  <a:lnTo>
                    <a:pt x="472" y="141"/>
                  </a:lnTo>
                  <a:lnTo>
                    <a:pt x="469" y="147"/>
                  </a:lnTo>
                  <a:lnTo>
                    <a:pt x="469" y="150"/>
                  </a:lnTo>
                  <a:lnTo>
                    <a:pt x="466" y="156"/>
                  </a:lnTo>
                  <a:lnTo>
                    <a:pt x="469" y="159"/>
                  </a:lnTo>
                  <a:lnTo>
                    <a:pt x="475" y="162"/>
                  </a:lnTo>
                  <a:lnTo>
                    <a:pt x="475" y="165"/>
                  </a:lnTo>
                  <a:lnTo>
                    <a:pt x="475" y="168"/>
                  </a:lnTo>
                  <a:lnTo>
                    <a:pt x="478" y="171"/>
                  </a:lnTo>
                  <a:lnTo>
                    <a:pt x="484" y="174"/>
                  </a:lnTo>
                  <a:lnTo>
                    <a:pt x="490" y="177"/>
                  </a:lnTo>
                  <a:lnTo>
                    <a:pt x="493" y="180"/>
                  </a:lnTo>
                  <a:lnTo>
                    <a:pt x="496" y="183"/>
                  </a:lnTo>
                  <a:lnTo>
                    <a:pt x="490" y="191"/>
                  </a:lnTo>
                  <a:lnTo>
                    <a:pt x="484" y="194"/>
                  </a:lnTo>
                  <a:lnTo>
                    <a:pt x="478" y="200"/>
                  </a:lnTo>
                  <a:lnTo>
                    <a:pt x="475" y="203"/>
                  </a:lnTo>
                  <a:lnTo>
                    <a:pt x="469" y="206"/>
                  </a:lnTo>
                  <a:lnTo>
                    <a:pt x="469" y="209"/>
                  </a:lnTo>
                  <a:lnTo>
                    <a:pt x="466" y="215"/>
                  </a:lnTo>
                  <a:lnTo>
                    <a:pt x="466" y="221"/>
                  </a:lnTo>
                  <a:lnTo>
                    <a:pt x="469" y="224"/>
                  </a:lnTo>
                  <a:lnTo>
                    <a:pt x="472" y="221"/>
                  </a:lnTo>
                  <a:lnTo>
                    <a:pt x="475" y="227"/>
                  </a:lnTo>
                  <a:lnTo>
                    <a:pt x="472" y="230"/>
                  </a:lnTo>
                  <a:lnTo>
                    <a:pt x="469" y="233"/>
                  </a:lnTo>
                  <a:lnTo>
                    <a:pt x="466" y="236"/>
                  </a:lnTo>
                  <a:lnTo>
                    <a:pt x="463" y="236"/>
                  </a:lnTo>
                  <a:lnTo>
                    <a:pt x="463" y="239"/>
                  </a:lnTo>
                  <a:lnTo>
                    <a:pt x="466" y="242"/>
                  </a:lnTo>
                  <a:lnTo>
                    <a:pt x="466" y="245"/>
                  </a:lnTo>
                  <a:lnTo>
                    <a:pt x="469" y="248"/>
                  </a:lnTo>
                  <a:lnTo>
                    <a:pt x="469" y="250"/>
                  </a:lnTo>
                  <a:lnTo>
                    <a:pt x="463" y="253"/>
                  </a:lnTo>
                  <a:lnTo>
                    <a:pt x="454" y="248"/>
                  </a:lnTo>
                  <a:lnTo>
                    <a:pt x="442" y="239"/>
                  </a:lnTo>
                  <a:lnTo>
                    <a:pt x="431" y="239"/>
                  </a:lnTo>
                  <a:lnTo>
                    <a:pt x="431" y="248"/>
                  </a:lnTo>
                  <a:lnTo>
                    <a:pt x="431" y="253"/>
                  </a:lnTo>
                  <a:lnTo>
                    <a:pt x="413" y="256"/>
                  </a:lnTo>
                  <a:lnTo>
                    <a:pt x="410" y="262"/>
                  </a:lnTo>
                  <a:lnTo>
                    <a:pt x="404" y="274"/>
                  </a:lnTo>
                  <a:lnTo>
                    <a:pt x="395" y="274"/>
                  </a:lnTo>
                  <a:lnTo>
                    <a:pt x="395" y="298"/>
                  </a:lnTo>
                  <a:lnTo>
                    <a:pt x="386" y="304"/>
                  </a:lnTo>
                  <a:lnTo>
                    <a:pt x="386" y="324"/>
                  </a:lnTo>
                  <a:lnTo>
                    <a:pt x="378" y="324"/>
                  </a:lnTo>
                  <a:lnTo>
                    <a:pt x="378" y="336"/>
                  </a:lnTo>
                  <a:lnTo>
                    <a:pt x="372" y="336"/>
                  </a:lnTo>
                  <a:lnTo>
                    <a:pt x="360" y="327"/>
                  </a:lnTo>
                  <a:lnTo>
                    <a:pt x="357" y="336"/>
                  </a:lnTo>
                  <a:lnTo>
                    <a:pt x="348" y="339"/>
                  </a:lnTo>
                  <a:lnTo>
                    <a:pt x="348" y="333"/>
                  </a:lnTo>
                  <a:lnTo>
                    <a:pt x="342" y="330"/>
                  </a:lnTo>
                  <a:lnTo>
                    <a:pt x="339" y="336"/>
                  </a:lnTo>
                  <a:lnTo>
                    <a:pt x="333" y="342"/>
                  </a:lnTo>
                  <a:lnTo>
                    <a:pt x="333" y="351"/>
                  </a:lnTo>
                  <a:lnTo>
                    <a:pt x="324" y="357"/>
                  </a:lnTo>
                  <a:lnTo>
                    <a:pt x="313" y="351"/>
                  </a:lnTo>
                  <a:lnTo>
                    <a:pt x="313" y="336"/>
                  </a:lnTo>
                  <a:lnTo>
                    <a:pt x="307" y="336"/>
                  </a:lnTo>
                  <a:lnTo>
                    <a:pt x="298" y="336"/>
                  </a:lnTo>
                  <a:lnTo>
                    <a:pt x="295" y="324"/>
                  </a:lnTo>
                  <a:lnTo>
                    <a:pt x="286" y="312"/>
                  </a:lnTo>
                  <a:lnTo>
                    <a:pt x="277" y="315"/>
                  </a:lnTo>
                  <a:lnTo>
                    <a:pt x="268" y="315"/>
                  </a:lnTo>
                  <a:lnTo>
                    <a:pt x="265" y="312"/>
                  </a:lnTo>
                  <a:lnTo>
                    <a:pt x="254" y="310"/>
                  </a:lnTo>
                  <a:lnTo>
                    <a:pt x="248" y="330"/>
                  </a:lnTo>
                  <a:lnTo>
                    <a:pt x="239" y="336"/>
                  </a:lnTo>
                  <a:lnTo>
                    <a:pt x="233" y="345"/>
                  </a:lnTo>
                  <a:lnTo>
                    <a:pt x="212" y="348"/>
                  </a:lnTo>
                  <a:lnTo>
                    <a:pt x="206" y="357"/>
                  </a:lnTo>
                  <a:lnTo>
                    <a:pt x="192" y="357"/>
                  </a:lnTo>
                  <a:lnTo>
                    <a:pt x="183" y="363"/>
                  </a:lnTo>
                  <a:lnTo>
                    <a:pt x="174" y="363"/>
                  </a:lnTo>
                  <a:lnTo>
                    <a:pt x="171" y="354"/>
                  </a:lnTo>
                  <a:lnTo>
                    <a:pt x="165" y="348"/>
                  </a:lnTo>
                  <a:lnTo>
                    <a:pt x="159" y="348"/>
                  </a:lnTo>
                  <a:lnTo>
                    <a:pt x="153" y="360"/>
                  </a:lnTo>
                  <a:lnTo>
                    <a:pt x="144" y="360"/>
                  </a:lnTo>
                  <a:lnTo>
                    <a:pt x="141" y="371"/>
                  </a:lnTo>
                  <a:lnTo>
                    <a:pt x="130" y="371"/>
                  </a:lnTo>
                  <a:lnTo>
                    <a:pt x="118" y="363"/>
                  </a:lnTo>
                  <a:lnTo>
                    <a:pt x="118" y="351"/>
                  </a:lnTo>
                  <a:lnTo>
                    <a:pt x="109" y="345"/>
                  </a:lnTo>
                  <a:lnTo>
                    <a:pt x="97" y="354"/>
                  </a:lnTo>
                  <a:lnTo>
                    <a:pt x="88" y="342"/>
                  </a:lnTo>
                  <a:lnTo>
                    <a:pt x="79" y="336"/>
                  </a:lnTo>
                  <a:lnTo>
                    <a:pt x="74" y="345"/>
                  </a:lnTo>
                  <a:lnTo>
                    <a:pt x="32" y="348"/>
                  </a:lnTo>
                  <a:lnTo>
                    <a:pt x="20" y="33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8" name="Freeform 139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495036" y="1449004"/>
              <a:ext cx="15036" cy="20942"/>
            </a:xfrm>
            <a:custGeom>
              <a:avLst/>
              <a:gdLst>
                <a:gd name="T0" fmla="*/ 0 w 91"/>
                <a:gd name="T1" fmla="*/ 101 h 118"/>
                <a:gd name="T2" fmla="*/ 0 w 91"/>
                <a:gd name="T3" fmla="*/ 95 h 118"/>
                <a:gd name="T4" fmla="*/ 0 w 91"/>
                <a:gd name="T5" fmla="*/ 86 h 118"/>
                <a:gd name="T6" fmla="*/ 0 w 91"/>
                <a:gd name="T7" fmla="*/ 80 h 118"/>
                <a:gd name="T8" fmla="*/ 0 w 91"/>
                <a:gd name="T9" fmla="*/ 71 h 118"/>
                <a:gd name="T10" fmla="*/ 6 w 91"/>
                <a:gd name="T11" fmla="*/ 62 h 118"/>
                <a:gd name="T12" fmla="*/ 9 w 91"/>
                <a:gd name="T13" fmla="*/ 53 h 118"/>
                <a:gd name="T14" fmla="*/ 12 w 91"/>
                <a:gd name="T15" fmla="*/ 45 h 118"/>
                <a:gd name="T16" fmla="*/ 12 w 91"/>
                <a:gd name="T17" fmla="*/ 39 h 118"/>
                <a:gd name="T18" fmla="*/ 6 w 91"/>
                <a:gd name="T19" fmla="*/ 33 h 118"/>
                <a:gd name="T20" fmla="*/ 6 w 91"/>
                <a:gd name="T21" fmla="*/ 27 h 118"/>
                <a:gd name="T22" fmla="*/ 12 w 91"/>
                <a:gd name="T23" fmla="*/ 27 h 118"/>
                <a:gd name="T24" fmla="*/ 18 w 91"/>
                <a:gd name="T25" fmla="*/ 24 h 118"/>
                <a:gd name="T26" fmla="*/ 21 w 91"/>
                <a:gd name="T27" fmla="*/ 24 h 118"/>
                <a:gd name="T28" fmla="*/ 26 w 91"/>
                <a:gd name="T29" fmla="*/ 18 h 118"/>
                <a:gd name="T30" fmla="*/ 32 w 91"/>
                <a:gd name="T31" fmla="*/ 21 h 118"/>
                <a:gd name="T32" fmla="*/ 38 w 91"/>
                <a:gd name="T33" fmla="*/ 12 h 118"/>
                <a:gd name="T34" fmla="*/ 47 w 91"/>
                <a:gd name="T35" fmla="*/ 12 h 118"/>
                <a:gd name="T36" fmla="*/ 50 w 91"/>
                <a:gd name="T37" fmla="*/ 6 h 118"/>
                <a:gd name="T38" fmla="*/ 53 w 91"/>
                <a:gd name="T39" fmla="*/ 0 h 118"/>
                <a:gd name="T40" fmla="*/ 62 w 91"/>
                <a:gd name="T41" fmla="*/ 6 h 118"/>
                <a:gd name="T42" fmla="*/ 71 w 91"/>
                <a:gd name="T43" fmla="*/ 9 h 118"/>
                <a:gd name="T44" fmla="*/ 77 w 91"/>
                <a:gd name="T45" fmla="*/ 15 h 118"/>
                <a:gd name="T46" fmla="*/ 77 w 91"/>
                <a:gd name="T47" fmla="*/ 24 h 118"/>
                <a:gd name="T48" fmla="*/ 80 w 91"/>
                <a:gd name="T49" fmla="*/ 30 h 118"/>
                <a:gd name="T50" fmla="*/ 80 w 91"/>
                <a:gd name="T51" fmla="*/ 39 h 118"/>
                <a:gd name="T52" fmla="*/ 80 w 91"/>
                <a:gd name="T53" fmla="*/ 47 h 118"/>
                <a:gd name="T54" fmla="*/ 80 w 91"/>
                <a:gd name="T55" fmla="*/ 56 h 118"/>
                <a:gd name="T56" fmla="*/ 77 w 91"/>
                <a:gd name="T57" fmla="*/ 65 h 118"/>
                <a:gd name="T58" fmla="*/ 77 w 91"/>
                <a:gd name="T59" fmla="*/ 71 h 118"/>
                <a:gd name="T60" fmla="*/ 77 w 91"/>
                <a:gd name="T61" fmla="*/ 80 h 118"/>
                <a:gd name="T62" fmla="*/ 83 w 91"/>
                <a:gd name="T63" fmla="*/ 89 h 118"/>
                <a:gd name="T64" fmla="*/ 88 w 91"/>
                <a:gd name="T65" fmla="*/ 92 h 118"/>
                <a:gd name="T66" fmla="*/ 91 w 91"/>
                <a:gd name="T67" fmla="*/ 98 h 118"/>
                <a:gd name="T68" fmla="*/ 86 w 91"/>
                <a:gd name="T69" fmla="*/ 101 h 118"/>
                <a:gd name="T70" fmla="*/ 80 w 91"/>
                <a:gd name="T71" fmla="*/ 107 h 118"/>
                <a:gd name="T72" fmla="*/ 77 w 91"/>
                <a:gd name="T73" fmla="*/ 112 h 118"/>
                <a:gd name="T74" fmla="*/ 62 w 91"/>
                <a:gd name="T75" fmla="*/ 107 h 118"/>
                <a:gd name="T76" fmla="*/ 53 w 91"/>
                <a:gd name="T77" fmla="*/ 112 h 118"/>
                <a:gd name="T78" fmla="*/ 41 w 91"/>
                <a:gd name="T79" fmla="*/ 118 h 118"/>
                <a:gd name="T80" fmla="*/ 29 w 91"/>
                <a:gd name="T81" fmla="*/ 115 h 118"/>
                <a:gd name="T82" fmla="*/ 12 w 91"/>
                <a:gd name="T83" fmla="*/ 118 h 1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118"/>
                <a:gd name="T128" fmla="*/ 91 w 91"/>
                <a:gd name="T129" fmla="*/ 118 h 1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118">
                  <a:moveTo>
                    <a:pt x="0" y="107"/>
                  </a:moveTo>
                  <a:lnTo>
                    <a:pt x="0" y="104"/>
                  </a:lnTo>
                  <a:lnTo>
                    <a:pt x="0" y="101"/>
                  </a:lnTo>
                  <a:lnTo>
                    <a:pt x="0" y="98"/>
                  </a:lnTo>
                  <a:lnTo>
                    <a:pt x="3" y="95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6" y="62"/>
                  </a:lnTo>
                  <a:lnTo>
                    <a:pt x="6" y="59"/>
                  </a:lnTo>
                  <a:lnTo>
                    <a:pt x="9" y="56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4" y="12"/>
                  </a:lnTo>
                  <a:lnTo>
                    <a:pt x="47" y="12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80" y="39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9"/>
                  </a:lnTo>
                  <a:lnTo>
                    <a:pt x="77" y="62"/>
                  </a:lnTo>
                  <a:lnTo>
                    <a:pt x="77" y="65"/>
                  </a:lnTo>
                  <a:lnTo>
                    <a:pt x="74" y="68"/>
                  </a:lnTo>
                  <a:lnTo>
                    <a:pt x="74" y="71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7" y="77"/>
                  </a:lnTo>
                  <a:lnTo>
                    <a:pt x="77" y="80"/>
                  </a:lnTo>
                  <a:lnTo>
                    <a:pt x="77" y="83"/>
                  </a:lnTo>
                  <a:lnTo>
                    <a:pt x="80" y="86"/>
                  </a:lnTo>
                  <a:lnTo>
                    <a:pt x="83" y="89"/>
                  </a:lnTo>
                  <a:lnTo>
                    <a:pt x="86" y="89"/>
                  </a:lnTo>
                  <a:lnTo>
                    <a:pt x="88" y="89"/>
                  </a:lnTo>
                  <a:lnTo>
                    <a:pt x="88" y="92"/>
                  </a:lnTo>
                  <a:lnTo>
                    <a:pt x="91" y="92"/>
                  </a:lnTo>
                  <a:lnTo>
                    <a:pt x="91" y="95"/>
                  </a:lnTo>
                  <a:lnTo>
                    <a:pt x="91" y="98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1" y="112"/>
                  </a:lnTo>
                  <a:lnTo>
                    <a:pt x="65" y="109"/>
                  </a:lnTo>
                  <a:lnTo>
                    <a:pt x="62" y="107"/>
                  </a:lnTo>
                  <a:lnTo>
                    <a:pt x="59" y="109"/>
                  </a:lnTo>
                  <a:lnTo>
                    <a:pt x="56" y="109"/>
                  </a:lnTo>
                  <a:lnTo>
                    <a:pt x="53" y="112"/>
                  </a:lnTo>
                  <a:lnTo>
                    <a:pt x="50" y="112"/>
                  </a:lnTo>
                  <a:lnTo>
                    <a:pt x="47" y="115"/>
                  </a:lnTo>
                  <a:lnTo>
                    <a:pt x="41" y="118"/>
                  </a:lnTo>
                  <a:lnTo>
                    <a:pt x="38" y="118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4" y="115"/>
                  </a:lnTo>
                  <a:lnTo>
                    <a:pt x="18" y="115"/>
                  </a:lnTo>
                  <a:lnTo>
                    <a:pt x="12" y="118"/>
                  </a:lnTo>
                  <a:lnTo>
                    <a:pt x="6" y="11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9" name="Freeform 140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555013" y="1406055"/>
              <a:ext cx="95501" cy="61939"/>
            </a:xfrm>
            <a:custGeom>
              <a:avLst/>
              <a:gdLst>
                <a:gd name="T0" fmla="*/ 50 w 578"/>
                <a:gd name="T1" fmla="*/ 325 h 349"/>
                <a:gd name="T2" fmla="*/ 56 w 578"/>
                <a:gd name="T3" fmla="*/ 301 h 349"/>
                <a:gd name="T4" fmla="*/ 32 w 578"/>
                <a:gd name="T5" fmla="*/ 287 h 349"/>
                <a:gd name="T6" fmla="*/ 12 w 578"/>
                <a:gd name="T7" fmla="*/ 287 h 349"/>
                <a:gd name="T8" fmla="*/ 3 w 578"/>
                <a:gd name="T9" fmla="*/ 260 h 349"/>
                <a:gd name="T10" fmla="*/ 29 w 578"/>
                <a:gd name="T11" fmla="*/ 257 h 349"/>
                <a:gd name="T12" fmla="*/ 47 w 578"/>
                <a:gd name="T13" fmla="*/ 245 h 349"/>
                <a:gd name="T14" fmla="*/ 68 w 578"/>
                <a:gd name="T15" fmla="*/ 236 h 349"/>
                <a:gd name="T16" fmla="*/ 80 w 578"/>
                <a:gd name="T17" fmla="*/ 233 h 349"/>
                <a:gd name="T18" fmla="*/ 100 w 578"/>
                <a:gd name="T19" fmla="*/ 225 h 349"/>
                <a:gd name="T20" fmla="*/ 103 w 578"/>
                <a:gd name="T21" fmla="*/ 207 h 349"/>
                <a:gd name="T22" fmla="*/ 127 w 578"/>
                <a:gd name="T23" fmla="*/ 183 h 349"/>
                <a:gd name="T24" fmla="*/ 142 w 578"/>
                <a:gd name="T25" fmla="*/ 171 h 349"/>
                <a:gd name="T26" fmla="*/ 153 w 578"/>
                <a:gd name="T27" fmla="*/ 154 h 349"/>
                <a:gd name="T28" fmla="*/ 165 w 578"/>
                <a:gd name="T29" fmla="*/ 130 h 349"/>
                <a:gd name="T30" fmla="*/ 195 w 578"/>
                <a:gd name="T31" fmla="*/ 121 h 349"/>
                <a:gd name="T32" fmla="*/ 221 w 578"/>
                <a:gd name="T33" fmla="*/ 109 h 349"/>
                <a:gd name="T34" fmla="*/ 230 w 578"/>
                <a:gd name="T35" fmla="*/ 95 h 349"/>
                <a:gd name="T36" fmla="*/ 242 w 578"/>
                <a:gd name="T37" fmla="*/ 80 h 349"/>
                <a:gd name="T38" fmla="*/ 257 w 578"/>
                <a:gd name="T39" fmla="*/ 59 h 349"/>
                <a:gd name="T40" fmla="*/ 280 w 578"/>
                <a:gd name="T41" fmla="*/ 45 h 349"/>
                <a:gd name="T42" fmla="*/ 298 w 578"/>
                <a:gd name="T43" fmla="*/ 48 h 349"/>
                <a:gd name="T44" fmla="*/ 313 w 578"/>
                <a:gd name="T45" fmla="*/ 53 h 349"/>
                <a:gd name="T46" fmla="*/ 327 w 578"/>
                <a:gd name="T47" fmla="*/ 50 h 349"/>
                <a:gd name="T48" fmla="*/ 348 w 578"/>
                <a:gd name="T49" fmla="*/ 56 h 349"/>
                <a:gd name="T50" fmla="*/ 363 w 578"/>
                <a:gd name="T51" fmla="*/ 45 h 349"/>
                <a:gd name="T52" fmla="*/ 372 w 578"/>
                <a:gd name="T53" fmla="*/ 45 h 349"/>
                <a:gd name="T54" fmla="*/ 378 w 578"/>
                <a:gd name="T55" fmla="*/ 33 h 349"/>
                <a:gd name="T56" fmla="*/ 392 w 578"/>
                <a:gd name="T57" fmla="*/ 27 h 349"/>
                <a:gd name="T58" fmla="*/ 407 w 578"/>
                <a:gd name="T59" fmla="*/ 18 h 349"/>
                <a:gd name="T60" fmla="*/ 425 w 578"/>
                <a:gd name="T61" fmla="*/ 3 h 349"/>
                <a:gd name="T62" fmla="*/ 443 w 578"/>
                <a:gd name="T63" fmla="*/ 24 h 349"/>
                <a:gd name="T64" fmla="*/ 457 w 578"/>
                <a:gd name="T65" fmla="*/ 24 h 349"/>
                <a:gd name="T66" fmla="*/ 443 w 578"/>
                <a:gd name="T67" fmla="*/ 36 h 349"/>
                <a:gd name="T68" fmla="*/ 443 w 578"/>
                <a:gd name="T69" fmla="*/ 53 h 349"/>
                <a:gd name="T70" fmla="*/ 454 w 578"/>
                <a:gd name="T71" fmla="*/ 45 h 349"/>
                <a:gd name="T72" fmla="*/ 472 w 578"/>
                <a:gd name="T73" fmla="*/ 48 h 349"/>
                <a:gd name="T74" fmla="*/ 487 w 578"/>
                <a:gd name="T75" fmla="*/ 65 h 349"/>
                <a:gd name="T76" fmla="*/ 478 w 578"/>
                <a:gd name="T77" fmla="*/ 83 h 349"/>
                <a:gd name="T78" fmla="*/ 466 w 578"/>
                <a:gd name="T79" fmla="*/ 98 h 349"/>
                <a:gd name="T80" fmla="*/ 463 w 578"/>
                <a:gd name="T81" fmla="*/ 115 h 349"/>
                <a:gd name="T82" fmla="*/ 478 w 578"/>
                <a:gd name="T83" fmla="*/ 118 h 349"/>
                <a:gd name="T84" fmla="*/ 496 w 578"/>
                <a:gd name="T85" fmla="*/ 104 h 349"/>
                <a:gd name="T86" fmla="*/ 516 w 578"/>
                <a:gd name="T87" fmla="*/ 112 h 349"/>
                <a:gd name="T88" fmla="*/ 546 w 578"/>
                <a:gd name="T89" fmla="*/ 107 h 349"/>
                <a:gd name="T90" fmla="*/ 567 w 578"/>
                <a:gd name="T91" fmla="*/ 118 h 349"/>
                <a:gd name="T92" fmla="*/ 578 w 578"/>
                <a:gd name="T93" fmla="*/ 145 h 349"/>
                <a:gd name="T94" fmla="*/ 549 w 578"/>
                <a:gd name="T95" fmla="*/ 177 h 349"/>
                <a:gd name="T96" fmla="*/ 546 w 578"/>
                <a:gd name="T97" fmla="*/ 222 h 349"/>
                <a:gd name="T98" fmla="*/ 540 w 578"/>
                <a:gd name="T99" fmla="*/ 242 h 349"/>
                <a:gd name="T100" fmla="*/ 490 w 578"/>
                <a:gd name="T101" fmla="*/ 239 h 349"/>
                <a:gd name="T102" fmla="*/ 422 w 578"/>
                <a:gd name="T103" fmla="*/ 301 h 349"/>
                <a:gd name="T104" fmla="*/ 387 w 578"/>
                <a:gd name="T105" fmla="*/ 313 h 349"/>
                <a:gd name="T106" fmla="*/ 398 w 578"/>
                <a:gd name="T107" fmla="*/ 266 h 349"/>
                <a:gd name="T108" fmla="*/ 443 w 578"/>
                <a:gd name="T109" fmla="*/ 245 h 349"/>
                <a:gd name="T110" fmla="*/ 437 w 578"/>
                <a:gd name="T111" fmla="*/ 216 h 349"/>
                <a:gd name="T112" fmla="*/ 428 w 578"/>
                <a:gd name="T113" fmla="*/ 169 h 349"/>
                <a:gd name="T114" fmla="*/ 345 w 578"/>
                <a:gd name="T115" fmla="*/ 201 h 349"/>
                <a:gd name="T116" fmla="*/ 283 w 578"/>
                <a:gd name="T117" fmla="*/ 230 h 349"/>
                <a:gd name="T118" fmla="*/ 271 w 578"/>
                <a:gd name="T119" fmla="*/ 242 h 349"/>
                <a:gd name="T120" fmla="*/ 224 w 578"/>
                <a:gd name="T121" fmla="*/ 307 h 349"/>
                <a:gd name="T122" fmla="*/ 118 w 578"/>
                <a:gd name="T123" fmla="*/ 319 h 349"/>
                <a:gd name="T124" fmla="*/ 77 w 578"/>
                <a:gd name="T125" fmla="*/ 349 h 34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8"/>
                <a:gd name="T190" fmla="*/ 0 h 349"/>
                <a:gd name="T191" fmla="*/ 578 w 578"/>
                <a:gd name="T192" fmla="*/ 349 h 34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8" h="349">
                  <a:moveTo>
                    <a:pt x="59" y="349"/>
                  </a:moveTo>
                  <a:lnTo>
                    <a:pt x="62" y="346"/>
                  </a:lnTo>
                  <a:lnTo>
                    <a:pt x="62" y="343"/>
                  </a:lnTo>
                  <a:lnTo>
                    <a:pt x="62" y="340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6" y="331"/>
                  </a:lnTo>
                  <a:lnTo>
                    <a:pt x="50" y="328"/>
                  </a:lnTo>
                  <a:lnTo>
                    <a:pt x="50" y="325"/>
                  </a:lnTo>
                  <a:lnTo>
                    <a:pt x="50" y="322"/>
                  </a:lnTo>
                  <a:lnTo>
                    <a:pt x="50" y="319"/>
                  </a:lnTo>
                  <a:lnTo>
                    <a:pt x="50" y="316"/>
                  </a:lnTo>
                  <a:lnTo>
                    <a:pt x="53" y="313"/>
                  </a:lnTo>
                  <a:lnTo>
                    <a:pt x="53" y="307"/>
                  </a:lnTo>
                  <a:lnTo>
                    <a:pt x="56" y="304"/>
                  </a:lnTo>
                  <a:lnTo>
                    <a:pt x="59" y="304"/>
                  </a:lnTo>
                  <a:lnTo>
                    <a:pt x="59" y="301"/>
                  </a:lnTo>
                  <a:lnTo>
                    <a:pt x="56" y="301"/>
                  </a:lnTo>
                  <a:lnTo>
                    <a:pt x="56" y="298"/>
                  </a:lnTo>
                  <a:lnTo>
                    <a:pt x="53" y="295"/>
                  </a:lnTo>
                  <a:lnTo>
                    <a:pt x="50" y="292"/>
                  </a:lnTo>
                  <a:lnTo>
                    <a:pt x="44" y="284"/>
                  </a:lnTo>
                  <a:lnTo>
                    <a:pt x="44" y="281"/>
                  </a:lnTo>
                  <a:lnTo>
                    <a:pt x="41" y="284"/>
                  </a:lnTo>
                  <a:lnTo>
                    <a:pt x="38" y="287"/>
                  </a:lnTo>
                  <a:lnTo>
                    <a:pt x="35" y="287"/>
                  </a:lnTo>
                  <a:lnTo>
                    <a:pt x="32" y="287"/>
                  </a:lnTo>
                  <a:lnTo>
                    <a:pt x="29" y="289"/>
                  </a:lnTo>
                  <a:lnTo>
                    <a:pt x="24" y="289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21" y="289"/>
                  </a:lnTo>
                  <a:lnTo>
                    <a:pt x="21" y="287"/>
                  </a:lnTo>
                  <a:lnTo>
                    <a:pt x="18" y="287"/>
                  </a:lnTo>
                  <a:lnTo>
                    <a:pt x="15" y="287"/>
                  </a:lnTo>
                  <a:lnTo>
                    <a:pt x="12" y="287"/>
                  </a:lnTo>
                  <a:lnTo>
                    <a:pt x="9" y="284"/>
                  </a:lnTo>
                  <a:lnTo>
                    <a:pt x="6" y="281"/>
                  </a:lnTo>
                  <a:lnTo>
                    <a:pt x="3" y="281"/>
                  </a:lnTo>
                  <a:lnTo>
                    <a:pt x="3" y="278"/>
                  </a:lnTo>
                  <a:lnTo>
                    <a:pt x="3" y="275"/>
                  </a:lnTo>
                  <a:lnTo>
                    <a:pt x="0" y="272"/>
                  </a:lnTo>
                  <a:lnTo>
                    <a:pt x="0" y="266"/>
                  </a:lnTo>
                  <a:lnTo>
                    <a:pt x="3" y="263"/>
                  </a:lnTo>
                  <a:lnTo>
                    <a:pt x="3" y="260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12" y="254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21" y="251"/>
                  </a:lnTo>
                  <a:lnTo>
                    <a:pt x="24" y="251"/>
                  </a:lnTo>
                  <a:lnTo>
                    <a:pt x="29" y="257"/>
                  </a:lnTo>
                  <a:lnTo>
                    <a:pt x="29" y="254"/>
                  </a:lnTo>
                  <a:lnTo>
                    <a:pt x="32" y="254"/>
                  </a:lnTo>
                  <a:lnTo>
                    <a:pt x="35" y="254"/>
                  </a:lnTo>
                  <a:lnTo>
                    <a:pt x="38" y="254"/>
                  </a:lnTo>
                  <a:lnTo>
                    <a:pt x="41" y="254"/>
                  </a:lnTo>
                  <a:lnTo>
                    <a:pt x="41" y="251"/>
                  </a:lnTo>
                  <a:lnTo>
                    <a:pt x="44" y="251"/>
                  </a:lnTo>
                  <a:lnTo>
                    <a:pt x="44" y="248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53" y="242"/>
                  </a:lnTo>
                  <a:lnTo>
                    <a:pt x="56" y="239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62" y="236"/>
                  </a:lnTo>
                  <a:lnTo>
                    <a:pt x="65" y="233"/>
                  </a:lnTo>
                  <a:lnTo>
                    <a:pt x="68" y="236"/>
                  </a:lnTo>
                  <a:lnTo>
                    <a:pt x="68" y="242"/>
                  </a:lnTo>
                  <a:lnTo>
                    <a:pt x="71" y="242"/>
                  </a:lnTo>
                  <a:lnTo>
                    <a:pt x="74" y="239"/>
                  </a:lnTo>
                  <a:lnTo>
                    <a:pt x="74" y="236"/>
                  </a:lnTo>
                  <a:lnTo>
                    <a:pt x="77" y="236"/>
                  </a:lnTo>
                  <a:lnTo>
                    <a:pt x="77" y="239"/>
                  </a:lnTo>
                  <a:lnTo>
                    <a:pt x="80" y="239"/>
                  </a:lnTo>
                  <a:lnTo>
                    <a:pt x="80" y="236"/>
                  </a:lnTo>
                  <a:lnTo>
                    <a:pt x="80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5" y="236"/>
                  </a:lnTo>
                  <a:lnTo>
                    <a:pt x="88" y="233"/>
                  </a:lnTo>
                  <a:lnTo>
                    <a:pt x="91" y="233"/>
                  </a:lnTo>
                  <a:lnTo>
                    <a:pt x="94" y="230"/>
                  </a:lnTo>
                  <a:lnTo>
                    <a:pt x="94" y="228"/>
                  </a:lnTo>
                  <a:lnTo>
                    <a:pt x="97" y="228"/>
                  </a:lnTo>
                  <a:lnTo>
                    <a:pt x="100" y="225"/>
                  </a:lnTo>
                  <a:lnTo>
                    <a:pt x="103" y="225"/>
                  </a:lnTo>
                  <a:lnTo>
                    <a:pt x="106" y="222"/>
                  </a:lnTo>
                  <a:lnTo>
                    <a:pt x="109" y="219"/>
                  </a:lnTo>
                  <a:lnTo>
                    <a:pt x="109" y="216"/>
                  </a:lnTo>
                  <a:lnTo>
                    <a:pt x="109" y="213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3" y="210"/>
                  </a:lnTo>
                  <a:lnTo>
                    <a:pt x="103" y="207"/>
                  </a:lnTo>
                  <a:lnTo>
                    <a:pt x="103" y="201"/>
                  </a:lnTo>
                  <a:lnTo>
                    <a:pt x="106" y="198"/>
                  </a:lnTo>
                  <a:lnTo>
                    <a:pt x="109" y="198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5" y="195"/>
                  </a:lnTo>
                  <a:lnTo>
                    <a:pt x="121" y="192"/>
                  </a:lnTo>
                  <a:lnTo>
                    <a:pt x="124" y="189"/>
                  </a:lnTo>
                  <a:lnTo>
                    <a:pt x="127" y="183"/>
                  </a:lnTo>
                  <a:lnTo>
                    <a:pt x="130" y="180"/>
                  </a:lnTo>
                  <a:lnTo>
                    <a:pt x="133" y="180"/>
                  </a:lnTo>
                  <a:lnTo>
                    <a:pt x="136" y="180"/>
                  </a:lnTo>
                  <a:lnTo>
                    <a:pt x="136" y="177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9"/>
                  </a:lnTo>
                  <a:lnTo>
                    <a:pt x="147" y="169"/>
                  </a:lnTo>
                  <a:lnTo>
                    <a:pt x="150" y="169"/>
                  </a:lnTo>
                  <a:lnTo>
                    <a:pt x="153" y="169"/>
                  </a:lnTo>
                  <a:lnTo>
                    <a:pt x="156" y="166"/>
                  </a:lnTo>
                  <a:lnTo>
                    <a:pt x="153" y="160"/>
                  </a:lnTo>
                  <a:lnTo>
                    <a:pt x="156" y="157"/>
                  </a:lnTo>
                  <a:lnTo>
                    <a:pt x="153" y="154"/>
                  </a:lnTo>
                  <a:lnTo>
                    <a:pt x="153" y="151"/>
                  </a:lnTo>
                  <a:lnTo>
                    <a:pt x="150" y="148"/>
                  </a:lnTo>
                  <a:lnTo>
                    <a:pt x="150" y="145"/>
                  </a:lnTo>
                  <a:lnTo>
                    <a:pt x="153" y="145"/>
                  </a:lnTo>
                  <a:lnTo>
                    <a:pt x="156" y="139"/>
                  </a:lnTo>
                  <a:lnTo>
                    <a:pt x="156" y="136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5" y="130"/>
                  </a:lnTo>
                  <a:lnTo>
                    <a:pt x="165" y="133"/>
                  </a:lnTo>
                  <a:lnTo>
                    <a:pt x="168" y="130"/>
                  </a:lnTo>
                  <a:lnTo>
                    <a:pt x="177" y="127"/>
                  </a:lnTo>
                  <a:lnTo>
                    <a:pt x="183" y="124"/>
                  </a:lnTo>
                  <a:lnTo>
                    <a:pt x="186" y="124"/>
                  </a:lnTo>
                  <a:lnTo>
                    <a:pt x="189" y="124"/>
                  </a:lnTo>
                  <a:lnTo>
                    <a:pt x="192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8" y="121"/>
                  </a:lnTo>
                  <a:lnTo>
                    <a:pt x="201" y="124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9" y="112"/>
                  </a:lnTo>
                  <a:lnTo>
                    <a:pt x="212" y="112"/>
                  </a:lnTo>
                  <a:lnTo>
                    <a:pt x="215" y="112"/>
                  </a:lnTo>
                  <a:lnTo>
                    <a:pt x="218" y="112"/>
                  </a:lnTo>
                  <a:lnTo>
                    <a:pt x="221" y="109"/>
                  </a:lnTo>
                  <a:lnTo>
                    <a:pt x="218" y="107"/>
                  </a:lnTo>
                  <a:lnTo>
                    <a:pt x="218" y="104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30" y="98"/>
                  </a:lnTo>
                  <a:lnTo>
                    <a:pt x="230" y="95"/>
                  </a:lnTo>
                  <a:lnTo>
                    <a:pt x="227" y="89"/>
                  </a:lnTo>
                  <a:lnTo>
                    <a:pt x="227" y="86"/>
                  </a:lnTo>
                  <a:lnTo>
                    <a:pt x="230" y="86"/>
                  </a:lnTo>
                  <a:lnTo>
                    <a:pt x="233" y="86"/>
                  </a:lnTo>
                  <a:lnTo>
                    <a:pt x="236" y="89"/>
                  </a:lnTo>
                  <a:lnTo>
                    <a:pt x="236" y="86"/>
                  </a:lnTo>
                  <a:lnTo>
                    <a:pt x="239" y="83"/>
                  </a:lnTo>
                  <a:lnTo>
                    <a:pt x="239" y="80"/>
                  </a:lnTo>
                  <a:lnTo>
                    <a:pt x="242" y="80"/>
                  </a:lnTo>
                  <a:lnTo>
                    <a:pt x="242" y="77"/>
                  </a:lnTo>
                  <a:lnTo>
                    <a:pt x="242" y="74"/>
                  </a:lnTo>
                  <a:lnTo>
                    <a:pt x="245" y="71"/>
                  </a:lnTo>
                  <a:lnTo>
                    <a:pt x="248" y="68"/>
                  </a:lnTo>
                  <a:lnTo>
                    <a:pt x="248" y="65"/>
                  </a:lnTo>
                  <a:lnTo>
                    <a:pt x="251" y="62"/>
                  </a:lnTo>
                  <a:lnTo>
                    <a:pt x="254" y="62"/>
                  </a:lnTo>
                  <a:lnTo>
                    <a:pt x="257" y="62"/>
                  </a:lnTo>
                  <a:lnTo>
                    <a:pt x="257" y="59"/>
                  </a:lnTo>
                  <a:lnTo>
                    <a:pt x="260" y="56"/>
                  </a:lnTo>
                  <a:lnTo>
                    <a:pt x="263" y="53"/>
                  </a:lnTo>
                  <a:lnTo>
                    <a:pt x="266" y="53"/>
                  </a:lnTo>
                  <a:lnTo>
                    <a:pt x="268" y="50"/>
                  </a:lnTo>
                  <a:lnTo>
                    <a:pt x="271" y="50"/>
                  </a:lnTo>
                  <a:lnTo>
                    <a:pt x="274" y="50"/>
                  </a:lnTo>
                  <a:lnTo>
                    <a:pt x="274" y="48"/>
                  </a:lnTo>
                  <a:lnTo>
                    <a:pt x="277" y="45"/>
                  </a:lnTo>
                  <a:lnTo>
                    <a:pt x="280" y="45"/>
                  </a:lnTo>
                  <a:lnTo>
                    <a:pt x="280" y="42"/>
                  </a:lnTo>
                  <a:lnTo>
                    <a:pt x="283" y="42"/>
                  </a:lnTo>
                  <a:lnTo>
                    <a:pt x="286" y="39"/>
                  </a:lnTo>
                  <a:lnTo>
                    <a:pt x="289" y="42"/>
                  </a:lnTo>
                  <a:lnTo>
                    <a:pt x="292" y="42"/>
                  </a:lnTo>
                  <a:lnTo>
                    <a:pt x="292" y="45"/>
                  </a:lnTo>
                  <a:lnTo>
                    <a:pt x="292" y="48"/>
                  </a:lnTo>
                  <a:lnTo>
                    <a:pt x="295" y="48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3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04" y="50"/>
                  </a:lnTo>
                  <a:lnTo>
                    <a:pt x="307" y="50"/>
                  </a:lnTo>
                  <a:lnTo>
                    <a:pt x="310" y="50"/>
                  </a:lnTo>
                  <a:lnTo>
                    <a:pt x="310" y="53"/>
                  </a:lnTo>
                  <a:lnTo>
                    <a:pt x="313" y="53"/>
                  </a:lnTo>
                  <a:lnTo>
                    <a:pt x="316" y="53"/>
                  </a:lnTo>
                  <a:lnTo>
                    <a:pt x="319" y="53"/>
                  </a:lnTo>
                  <a:lnTo>
                    <a:pt x="322" y="53"/>
                  </a:lnTo>
                  <a:lnTo>
                    <a:pt x="322" y="56"/>
                  </a:lnTo>
                  <a:lnTo>
                    <a:pt x="322" y="53"/>
                  </a:lnTo>
                  <a:lnTo>
                    <a:pt x="322" y="50"/>
                  </a:lnTo>
                  <a:lnTo>
                    <a:pt x="325" y="50"/>
                  </a:lnTo>
                  <a:lnTo>
                    <a:pt x="327" y="53"/>
                  </a:lnTo>
                  <a:lnTo>
                    <a:pt x="327" y="50"/>
                  </a:lnTo>
                  <a:lnTo>
                    <a:pt x="330" y="53"/>
                  </a:lnTo>
                  <a:lnTo>
                    <a:pt x="333" y="56"/>
                  </a:lnTo>
                  <a:lnTo>
                    <a:pt x="330" y="56"/>
                  </a:lnTo>
                  <a:lnTo>
                    <a:pt x="333" y="56"/>
                  </a:lnTo>
                  <a:lnTo>
                    <a:pt x="336" y="56"/>
                  </a:lnTo>
                  <a:lnTo>
                    <a:pt x="339" y="56"/>
                  </a:lnTo>
                  <a:lnTo>
                    <a:pt x="342" y="53"/>
                  </a:lnTo>
                  <a:lnTo>
                    <a:pt x="345" y="56"/>
                  </a:lnTo>
                  <a:lnTo>
                    <a:pt x="348" y="56"/>
                  </a:lnTo>
                  <a:lnTo>
                    <a:pt x="348" y="53"/>
                  </a:lnTo>
                  <a:lnTo>
                    <a:pt x="351" y="50"/>
                  </a:lnTo>
                  <a:lnTo>
                    <a:pt x="354" y="50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0"/>
                  </a:lnTo>
                  <a:lnTo>
                    <a:pt x="360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0" y="45"/>
                  </a:lnTo>
                  <a:lnTo>
                    <a:pt x="363" y="42"/>
                  </a:lnTo>
                  <a:lnTo>
                    <a:pt x="366" y="42"/>
                  </a:lnTo>
                  <a:lnTo>
                    <a:pt x="366" y="45"/>
                  </a:lnTo>
                  <a:lnTo>
                    <a:pt x="366" y="48"/>
                  </a:lnTo>
                  <a:lnTo>
                    <a:pt x="369" y="45"/>
                  </a:lnTo>
                  <a:lnTo>
                    <a:pt x="369" y="48"/>
                  </a:lnTo>
                  <a:lnTo>
                    <a:pt x="372" y="48"/>
                  </a:lnTo>
                  <a:lnTo>
                    <a:pt x="372" y="45"/>
                  </a:lnTo>
                  <a:lnTo>
                    <a:pt x="369" y="42"/>
                  </a:lnTo>
                  <a:lnTo>
                    <a:pt x="372" y="42"/>
                  </a:lnTo>
                  <a:lnTo>
                    <a:pt x="375" y="42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81" y="39"/>
                  </a:lnTo>
                  <a:lnTo>
                    <a:pt x="378" y="39"/>
                  </a:lnTo>
                  <a:lnTo>
                    <a:pt x="378" y="36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92" y="33"/>
                  </a:lnTo>
                  <a:lnTo>
                    <a:pt x="392" y="30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1"/>
                  </a:lnTo>
                  <a:lnTo>
                    <a:pt x="395" y="18"/>
                  </a:lnTo>
                  <a:lnTo>
                    <a:pt x="398" y="18"/>
                  </a:lnTo>
                  <a:lnTo>
                    <a:pt x="401" y="18"/>
                  </a:lnTo>
                  <a:lnTo>
                    <a:pt x="401" y="21"/>
                  </a:lnTo>
                  <a:lnTo>
                    <a:pt x="404" y="21"/>
                  </a:lnTo>
                  <a:lnTo>
                    <a:pt x="404" y="18"/>
                  </a:lnTo>
                  <a:lnTo>
                    <a:pt x="407" y="18"/>
                  </a:lnTo>
                  <a:lnTo>
                    <a:pt x="410" y="15"/>
                  </a:lnTo>
                  <a:lnTo>
                    <a:pt x="413" y="12"/>
                  </a:lnTo>
                  <a:lnTo>
                    <a:pt x="416" y="12"/>
                  </a:lnTo>
                  <a:lnTo>
                    <a:pt x="416" y="9"/>
                  </a:lnTo>
                  <a:lnTo>
                    <a:pt x="419" y="3"/>
                  </a:lnTo>
                  <a:lnTo>
                    <a:pt x="422" y="3"/>
                  </a:lnTo>
                  <a:lnTo>
                    <a:pt x="422" y="0"/>
                  </a:lnTo>
                  <a:lnTo>
                    <a:pt x="425" y="0"/>
                  </a:lnTo>
                  <a:lnTo>
                    <a:pt x="425" y="3"/>
                  </a:lnTo>
                  <a:lnTo>
                    <a:pt x="428" y="3"/>
                  </a:lnTo>
                  <a:lnTo>
                    <a:pt x="428" y="6"/>
                  </a:lnTo>
                  <a:lnTo>
                    <a:pt x="431" y="6"/>
                  </a:lnTo>
                  <a:lnTo>
                    <a:pt x="434" y="12"/>
                  </a:lnTo>
                  <a:lnTo>
                    <a:pt x="437" y="15"/>
                  </a:lnTo>
                  <a:lnTo>
                    <a:pt x="437" y="18"/>
                  </a:lnTo>
                  <a:lnTo>
                    <a:pt x="440" y="21"/>
                  </a:lnTo>
                  <a:lnTo>
                    <a:pt x="443" y="21"/>
                  </a:lnTo>
                  <a:lnTo>
                    <a:pt x="443" y="24"/>
                  </a:lnTo>
                  <a:lnTo>
                    <a:pt x="446" y="24"/>
                  </a:lnTo>
                  <a:lnTo>
                    <a:pt x="448" y="24"/>
                  </a:lnTo>
                  <a:lnTo>
                    <a:pt x="448" y="21"/>
                  </a:lnTo>
                  <a:lnTo>
                    <a:pt x="451" y="18"/>
                  </a:lnTo>
                  <a:lnTo>
                    <a:pt x="454" y="15"/>
                  </a:lnTo>
                  <a:lnTo>
                    <a:pt x="454" y="18"/>
                  </a:lnTo>
                  <a:lnTo>
                    <a:pt x="457" y="18"/>
                  </a:lnTo>
                  <a:lnTo>
                    <a:pt x="457" y="21"/>
                  </a:lnTo>
                  <a:lnTo>
                    <a:pt x="457" y="24"/>
                  </a:lnTo>
                  <a:lnTo>
                    <a:pt x="454" y="24"/>
                  </a:lnTo>
                  <a:lnTo>
                    <a:pt x="454" y="27"/>
                  </a:lnTo>
                  <a:lnTo>
                    <a:pt x="454" y="30"/>
                  </a:lnTo>
                  <a:lnTo>
                    <a:pt x="451" y="30"/>
                  </a:lnTo>
                  <a:lnTo>
                    <a:pt x="448" y="30"/>
                  </a:lnTo>
                  <a:lnTo>
                    <a:pt x="446" y="30"/>
                  </a:lnTo>
                  <a:lnTo>
                    <a:pt x="446" y="33"/>
                  </a:lnTo>
                  <a:lnTo>
                    <a:pt x="443" y="33"/>
                  </a:lnTo>
                  <a:lnTo>
                    <a:pt x="443" y="36"/>
                  </a:lnTo>
                  <a:lnTo>
                    <a:pt x="440" y="39"/>
                  </a:lnTo>
                  <a:lnTo>
                    <a:pt x="440" y="42"/>
                  </a:lnTo>
                  <a:lnTo>
                    <a:pt x="437" y="42"/>
                  </a:lnTo>
                  <a:lnTo>
                    <a:pt x="434" y="42"/>
                  </a:lnTo>
                  <a:lnTo>
                    <a:pt x="434" y="45"/>
                  </a:lnTo>
                  <a:lnTo>
                    <a:pt x="437" y="45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3" y="53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3" y="59"/>
                  </a:lnTo>
                  <a:lnTo>
                    <a:pt x="443" y="62"/>
                  </a:lnTo>
                  <a:lnTo>
                    <a:pt x="446" y="59"/>
                  </a:lnTo>
                  <a:lnTo>
                    <a:pt x="448" y="59"/>
                  </a:lnTo>
                  <a:lnTo>
                    <a:pt x="454" y="50"/>
                  </a:lnTo>
                  <a:lnTo>
                    <a:pt x="454" y="48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60" y="42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9" y="39"/>
                  </a:lnTo>
                  <a:lnTo>
                    <a:pt x="472" y="36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8"/>
                  </a:lnTo>
                  <a:lnTo>
                    <a:pt x="472" y="50"/>
                  </a:lnTo>
                  <a:lnTo>
                    <a:pt x="475" y="50"/>
                  </a:lnTo>
                  <a:lnTo>
                    <a:pt x="475" y="53"/>
                  </a:lnTo>
                  <a:lnTo>
                    <a:pt x="478" y="53"/>
                  </a:lnTo>
                  <a:lnTo>
                    <a:pt x="478" y="56"/>
                  </a:lnTo>
                  <a:lnTo>
                    <a:pt x="478" y="59"/>
                  </a:lnTo>
                  <a:lnTo>
                    <a:pt x="484" y="62"/>
                  </a:lnTo>
                  <a:lnTo>
                    <a:pt x="484" y="65"/>
                  </a:lnTo>
                  <a:lnTo>
                    <a:pt x="487" y="65"/>
                  </a:lnTo>
                  <a:lnTo>
                    <a:pt x="490" y="68"/>
                  </a:lnTo>
                  <a:lnTo>
                    <a:pt x="490" y="71"/>
                  </a:lnTo>
                  <a:lnTo>
                    <a:pt x="490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4" y="77"/>
                  </a:lnTo>
                  <a:lnTo>
                    <a:pt x="481" y="77"/>
                  </a:lnTo>
                  <a:lnTo>
                    <a:pt x="478" y="80"/>
                  </a:lnTo>
                  <a:lnTo>
                    <a:pt x="478" y="83"/>
                  </a:lnTo>
                  <a:lnTo>
                    <a:pt x="475" y="83"/>
                  </a:lnTo>
                  <a:lnTo>
                    <a:pt x="478" y="86"/>
                  </a:lnTo>
                  <a:lnTo>
                    <a:pt x="478" y="89"/>
                  </a:lnTo>
                  <a:lnTo>
                    <a:pt x="475" y="92"/>
                  </a:lnTo>
                  <a:lnTo>
                    <a:pt x="475" y="95"/>
                  </a:lnTo>
                  <a:lnTo>
                    <a:pt x="472" y="95"/>
                  </a:lnTo>
                  <a:lnTo>
                    <a:pt x="472" y="98"/>
                  </a:lnTo>
                  <a:lnTo>
                    <a:pt x="469" y="98"/>
                  </a:lnTo>
                  <a:lnTo>
                    <a:pt x="466" y="98"/>
                  </a:lnTo>
                  <a:lnTo>
                    <a:pt x="466" y="101"/>
                  </a:lnTo>
                  <a:lnTo>
                    <a:pt x="463" y="101"/>
                  </a:lnTo>
                  <a:lnTo>
                    <a:pt x="466" y="104"/>
                  </a:lnTo>
                  <a:lnTo>
                    <a:pt x="469" y="104"/>
                  </a:lnTo>
                  <a:lnTo>
                    <a:pt x="469" y="107"/>
                  </a:lnTo>
                  <a:lnTo>
                    <a:pt x="466" y="109"/>
                  </a:lnTo>
                  <a:lnTo>
                    <a:pt x="463" y="112"/>
                  </a:lnTo>
                  <a:lnTo>
                    <a:pt x="460" y="115"/>
                  </a:lnTo>
                  <a:lnTo>
                    <a:pt x="463" y="115"/>
                  </a:lnTo>
                  <a:lnTo>
                    <a:pt x="466" y="115"/>
                  </a:lnTo>
                  <a:lnTo>
                    <a:pt x="466" y="118"/>
                  </a:lnTo>
                  <a:lnTo>
                    <a:pt x="469" y="115"/>
                  </a:lnTo>
                  <a:lnTo>
                    <a:pt x="472" y="115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5" y="121"/>
                  </a:lnTo>
                  <a:lnTo>
                    <a:pt x="478" y="121"/>
                  </a:lnTo>
                  <a:lnTo>
                    <a:pt x="478" y="118"/>
                  </a:lnTo>
                  <a:lnTo>
                    <a:pt x="478" y="115"/>
                  </a:lnTo>
                  <a:lnTo>
                    <a:pt x="478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7" y="109"/>
                  </a:lnTo>
                  <a:lnTo>
                    <a:pt x="490" y="107"/>
                  </a:lnTo>
                  <a:lnTo>
                    <a:pt x="493" y="104"/>
                  </a:lnTo>
                  <a:lnTo>
                    <a:pt x="493" y="107"/>
                  </a:lnTo>
                  <a:lnTo>
                    <a:pt x="496" y="104"/>
                  </a:lnTo>
                  <a:lnTo>
                    <a:pt x="499" y="104"/>
                  </a:lnTo>
                  <a:lnTo>
                    <a:pt x="502" y="104"/>
                  </a:lnTo>
                  <a:lnTo>
                    <a:pt x="505" y="107"/>
                  </a:lnTo>
                  <a:lnTo>
                    <a:pt x="508" y="107"/>
                  </a:lnTo>
                  <a:lnTo>
                    <a:pt x="510" y="107"/>
                  </a:lnTo>
                  <a:lnTo>
                    <a:pt x="510" y="109"/>
                  </a:lnTo>
                  <a:lnTo>
                    <a:pt x="510" y="112"/>
                  </a:lnTo>
                  <a:lnTo>
                    <a:pt x="513" y="112"/>
                  </a:lnTo>
                  <a:lnTo>
                    <a:pt x="516" y="112"/>
                  </a:lnTo>
                  <a:lnTo>
                    <a:pt x="519" y="112"/>
                  </a:lnTo>
                  <a:lnTo>
                    <a:pt x="522" y="109"/>
                  </a:lnTo>
                  <a:lnTo>
                    <a:pt x="525" y="109"/>
                  </a:lnTo>
                  <a:lnTo>
                    <a:pt x="528" y="112"/>
                  </a:lnTo>
                  <a:lnTo>
                    <a:pt x="534" y="112"/>
                  </a:lnTo>
                  <a:lnTo>
                    <a:pt x="537" y="112"/>
                  </a:lnTo>
                  <a:lnTo>
                    <a:pt x="543" y="109"/>
                  </a:lnTo>
                  <a:lnTo>
                    <a:pt x="543" y="107"/>
                  </a:lnTo>
                  <a:lnTo>
                    <a:pt x="546" y="107"/>
                  </a:lnTo>
                  <a:lnTo>
                    <a:pt x="549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8" y="109"/>
                  </a:lnTo>
                  <a:lnTo>
                    <a:pt x="561" y="109"/>
                  </a:lnTo>
                  <a:lnTo>
                    <a:pt x="561" y="112"/>
                  </a:lnTo>
                  <a:lnTo>
                    <a:pt x="564" y="115"/>
                  </a:lnTo>
                  <a:lnTo>
                    <a:pt x="567" y="118"/>
                  </a:lnTo>
                  <a:lnTo>
                    <a:pt x="569" y="118"/>
                  </a:lnTo>
                  <a:lnTo>
                    <a:pt x="572" y="118"/>
                  </a:lnTo>
                  <a:lnTo>
                    <a:pt x="569" y="124"/>
                  </a:lnTo>
                  <a:lnTo>
                    <a:pt x="567" y="127"/>
                  </a:lnTo>
                  <a:lnTo>
                    <a:pt x="567" y="133"/>
                  </a:lnTo>
                  <a:lnTo>
                    <a:pt x="569" y="136"/>
                  </a:lnTo>
                  <a:lnTo>
                    <a:pt x="575" y="139"/>
                  </a:lnTo>
                  <a:lnTo>
                    <a:pt x="578" y="142"/>
                  </a:lnTo>
                  <a:lnTo>
                    <a:pt x="578" y="145"/>
                  </a:lnTo>
                  <a:lnTo>
                    <a:pt x="575" y="151"/>
                  </a:lnTo>
                  <a:lnTo>
                    <a:pt x="578" y="157"/>
                  </a:lnTo>
                  <a:lnTo>
                    <a:pt x="575" y="157"/>
                  </a:lnTo>
                  <a:lnTo>
                    <a:pt x="569" y="157"/>
                  </a:lnTo>
                  <a:lnTo>
                    <a:pt x="564" y="163"/>
                  </a:lnTo>
                  <a:lnTo>
                    <a:pt x="558" y="169"/>
                  </a:lnTo>
                  <a:lnTo>
                    <a:pt x="555" y="171"/>
                  </a:lnTo>
                  <a:lnTo>
                    <a:pt x="552" y="174"/>
                  </a:lnTo>
                  <a:lnTo>
                    <a:pt x="549" y="177"/>
                  </a:lnTo>
                  <a:lnTo>
                    <a:pt x="546" y="183"/>
                  </a:lnTo>
                  <a:lnTo>
                    <a:pt x="540" y="186"/>
                  </a:lnTo>
                  <a:lnTo>
                    <a:pt x="540" y="192"/>
                  </a:lnTo>
                  <a:lnTo>
                    <a:pt x="537" y="195"/>
                  </a:lnTo>
                  <a:lnTo>
                    <a:pt x="537" y="198"/>
                  </a:lnTo>
                  <a:lnTo>
                    <a:pt x="537" y="204"/>
                  </a:lnTo>
                  <a:lnTo>
                    <a:pt x="540" y="210"/>
                  </a:lnTo>
                  <a:lnTo>
                    <a:pt x="540" y="213"/>
                  </a:lnTo>
                  <a:lnTo>
                    <a:pt x="546" y="222"/>
                  </a:lnTo>
                  <a:lnTo>
                    <a:pt x="555" y="228"/>
                  </a:lnTo>
                  <a:lnTo>
                    <a:pt x="564" y="230"/>
                  </a:lnTo>
                  <a:lnTo>
                    <a:pt x="569" y="239"/>
                  </a:lnTo>
                  <a:lnTo>
                    <a:pt x="572" y="245"/>
                  </a:lnTo>
                  <a:lnTo>
                    <a:pt x="564" y="251"/>
                  </a:lnTo>
                  <a:lnTo>
                    <a:pt x="558" y="248"/>
                  </a:lnTo>
                  <a:lnTo>
                    <a:pt x="555" y="245"/>
                  </a:lnTo>
                  <a:lnTo>
                    <a:pt x="543" y="245"/>
                  </a:lnTo>
                  <a:lnTo>
                    <a:pt x="540" y="242"/>
                  </a:lnTo>
                  <a:lnTo>
                    <a:pt x="540" y="239"/>
                  </a:lnTo>
                  <a:lnTo>
                    <a:pt x="537" y="233"/>
                  </a:lnTo>
                  <a:lnTo>
                    <a:pt x="531" y="228"/>
                  </a:lnTo>
                  <a:lnTo>
                    <a:pt x="522" y="228"/>
                  </a:lnTo>
                  <a:lnTo>
                    <a:pt x="513" y="230"/>
                  </a:lnTo>
                  <a:lnTo>
                    <a:pt x="510" y="230"/>
                  </a:lnTo>
                  <a:lnTo>
                    <a:pt x="508" y="236"/>
                  </a:lnTo>
                  <a:lnTo>
                    <a:pt x="502" y="239"/>
                  </a:lnTo>
                  <a:lnTo>
                    <a:pt x="490" y="239"/>
                  </a:lnTo>
                  <a:lnTo>
                    <a:pt x="478" y="245"/>
                  </a:lnTo>
                  <a:lnTo>
                    <a:pt x="466" y="248"/>
                  </a:lnTo>
                  <a:lnTo>
                    <a:pt x="457" y="257"/>
                  </a:lnTo>
                  <a:lnTo>
                    <a:pt x="454" y="263"/>
                  </a:lnTo>
                  <a:lnTo>
                    <a:pt x="446" y="278"/>
                  </a:lnTo>
                  <a:lnTo>
                    <a:pt x="437" y="287"/>
                  </a:lnTo>
                  <a:lnTo>
                    <a:pt x="434" y="295"/>
                  </a:lnTo>
                  <a:lnTo>
                    <a:pt x="428" y="298"/>
                  </a:lnTo>
                  <a:lnTo>
                    <a:pt x="422" y="301"/>
                  </a:lnTo>
                  <a:lnTo>
                    <a:pt x="419" y="304"/>
                  </a:lnTo>
                  <a:lnTo>
                    <a:pt x="413" y="307"/>
                  </a:lnTo>
                  <a:lnTo>
                    <a:pt x="410" y="310"/>
                  </a:lnTo>
                  <a:lnTo>
                    <a:pt x="401" y="319"/>
                  </a:lnTo>
                  <a:lnTo>
                    <a:pt x="389" y="328"/>
                  </a:lnTo>
                  <a:lnTo>
                    <a:pt x="387" y="328"/>
                  </a:lnTo>
                  <a:lnTo>
                    <a:pt x="384" y="328"/>
                  </a:lnTo>
                  <a:lnTo>
                    <a:pt x="387" y="322"/>
                  </a:lnTo>
                  <a:lnTo>
                    <a:pt x="387" y="313"/>
                  </a:lnTo>
                  <a:lnTo>
                    <a:pt x="381" y="307"/>
                  </a:lnTo>
                  <a:lnTo>
                    <a:pt x="378" y="298"/>
                  </a:lnTo>
                  <a:lnTo>
                    <a:pt x="375" y="292"/>
                  </a:lnTo>
                  <a:lnTo>
                    <a:pt x="375" y="287"/>
                  </a:lnTo>
                  <a:lnTo>
                    <a:pt x="378" y="281"/>
                  </a:lnTo>
                  <a:lnTo>
                    <a:pt x="384" y="281"/>
                  </a:lnTo>
                  <a:lnTo>
                    <a:pt x="389" y="275"/>
                  </a:lnTo>
                  <a:lnTo>
                    <a:pt x="392" y="272"/>
                  </a:lnTo>
                  <a:lnTo>
                    <a:pt x="398" y="266"/>
                  </a:lnTo>
                  <a:lnTo>
                    <a:pt x="401" y="263"/>
                  </a:lnTo>
                  <a:lnTo>
                    <a:pt x="401" y="257"/>
                  </a:lnTo>
                  <a:lnTo>
                    <a:pt x="407" y="254"/>
                  </a:lnTo>
                  <a:lnTo>
                    <a:pt x="416" y="257"/>
                  </a:lnTo>
                  <a:lnTo>
                    <a:pt x="422" y="254"/>
                  </a:lnTo>
                  <a:lnTo>
                    <a:pt x="431" y="251"/>
                  </a:lnTo>
                  <a:lnTo>
                    <a:pt x="437" y="248"/>
                  </a:lnTo>
                  <a:lnTo>
                    <a:pt x="443" y="248"/>
                  </a:lnTo>
                  <a:lnTo>
                    <a:pt x="443" y="245"/>
                  </a:lnTo>
                  <a:lnTo>
                    <a:pt x="448" y="239"/>
                  </a:lnTo>
                  <a:lnTo>
                    <a:pt x="451" y="236"/>
                  </a:lnTo>
                  <a:lnTo>
                    <a:pt x="451" y="228"/>
                  </a:lnTo>
                  <a:lnTo>
                    <a:pt x="446" y="228"/>
                  </a:lnTo>
                  <a:lnTo>
                    <a:pt x="443" y="230"/>
                  </a:lnTo>
                  <a:lnTo>
                    <a:pt x="437" y="230"/>
                  </a:lnTo>
                  <a:lnTo>
                    <a:pt x="437" y="222"/>
                  </a:lnTo>
                  <a:lnTo>
                    <a:pt x="437" y="219"/>
                  </a:lnTo>
                  <a:lnTo>
                    <a:pt x="437" y="216"/>
                  </a:lnTo>
                  <a:lnTo>
                    <a:pt x="434" y="216"/>
                  </a:lnTo>
                  <a:lnTo>
                    <a:pt x="428" y="210"/>
                  </a:lnTo>
                  <a:lnTo>
                    <a:pt x="422" y="204"/>
                  </a:lnTo>
                  <a:lnTo>
                    <a:pt x="419" y="195"/>
                  </a:lnTo>
                  <a:lnTo>
                    <a:pt x="425" y="189"/>
                  </a:lnTo>
                  <a:lnTo>
                    <a:pt x="431" y="180"/>
                  </a:lnTo>
                  <a:lnTo>
                    <a:pt x="440" y="169"/>
                  </a:lnTo>
                  <a:lnTo>
                    <a:pt x="437" y="166"/>
                  </a:lnTo>
                  <a:lnTo>
                    <a:pt x="428" y="169"/>
                  </a:lnTo>
                  <a:lnTo>
                    <a:pt x="419" y="169"/>
                  </a:lnTo>
                  <a:lnTo>
                    <a:pt x="404" y="171"/>
                  </a:lnTo>
                  <a:lnTo>
                    <a:pt x="395" y="174"/>
                  </a:lnTo>
                  <a:lnTo>
                    <a:pt x="389" y="177"/>
                  </a:lnTo>
                  <a:lnTo>
                    <a:pt x="387" y="180"/>
                  </a:lnTo>
                  <a:lnTo>
                    <a:pt x="384" y="186"/>
                  </a:lnTo>
                  <a:lnTo>
                    <a:pt x="366" y="192"/>
                  </a:lnTo>
                  <a:lnTo>
                    <a:pt x="357" y="195"/>
                  </a:lnTo>
                  <a:lnTo>
                    <a:pt x="345" y="201"/>
                  </a:lnTo>
                  <a:lnTo>
                    <a:pt x="333" y="207"/>
                  </a:lnTo>
                  <a:lnTo>
                    <a:pt x="333" y="204"/>
                  </a:lnTo>
                  <a:lnTo>
                    <a:pt x="322" y="216"/>
                  </a:lnTo>
                  <a:lnTo>
                    <a:pt x="310" y="225"/>
                  </a:lnTo>
                  <a:lnTo>
                    <a:pt x="298" y="230"/>
                  </a:lnTo>
                  <a:lnTo>
                    <a:pt x="295" y="233"/>
                  </a:lnTo>
                  <a:lnTo>
                    <a:pt x="289" y="233"/>
                  </a:lnTo>
                  <a:lnTo>
                    <a:pt x="289" y="230"/>
                  </a:lnTo>
                  <a:lnTo>
                    <a:pt x="283" y="230"/>
                  </a:lnTo>
                  <a:lnTo>
                    <a:pt x="277" y="233"/>
                  </a:lnTo>
                  <a:lnTo>
                    <a:pt x="274" y="233"/>
                  </a:lnTo>
                  <a:lnTo>
                    <a:pt x="271" y="233"/>
                  </a:lnTo>
                  <a:lnTo>
                    <a:pt x="274" y="230"/>
                  </a:lnTo>
                  <a:lnTo>
                    <a:pt x="271" y="230"/>
                  </a:lnTo>
                  <a:lnTo>
                    <a:pt x="266" y="228"/>
                  </a:lnTo>
                  <a:lnTo>
                    <a:pt x="266" y="233"/>
                  </a:lnTo>
                  <a:lnTo>
                    <a:pt x="266" y="239"/>
                  </a:lnTo>
                  <a:lnTo>
                    <a:pt x="271" y="242"/>
                  </a:lnTo>
                  <a:lnTo>
                    <a:pt x="266" y="245"/>
                  </a:lnTo>
                  <a:lnTo>
                    <a:pt x="260" y="251"/>
                  </a:lnTo>
                  <a:lnTo>
                    <a:pt x="254" y="260"/>
                  </a:lnTo>
                  <a:lnTo>
                    <a:pt x="245" y="272"/>
                  </a:lnTo>
                  <a:lnTo>
                    <a:pt x="239" y="278"/>
                  </a:lnTo>
                  <a:lnTo>
                    <a:pt x="236" y="287"/>
                  </a:lnTo>
                  <a:lnTo>
                    <a:pt x="233" y="295"/>
                  </a:lnTo>
                  <a:lnTo>
                    <a:pt x="227" y="304"/>
                  </a:lnTo>
                  <a:lnTo>
                    <a:pt x="224" y="307"/>
                  </a:lnTo>
                  <a:lnTo>
                    <a:pt x="212" y="316"/>
                  </a:lnTo>
                  <a:lnTo>
                    <a:pt x="195" y="316"/>
                  </a:lnTo>
                  <a:lnTo>
                    <a:pt x="186" y="319"/>
                  </a:lnTo>
                  <a:lnTo>
                    <a:pt x="171" y="319"/>
                  </a:lnTo>
                  <a:lnTo>
                    <a:pt x="162" y="325"/>
                  </a:lnTo>
                  <a:lnTo>
                    <a:pt x="153" y="325"/>
                  </a:lnTo>
                  <a:lnTo>
                    <a:pt x="139" y="322"/>
                  </a:lnTo>
                  <a:lnTo>
                    <a:pt x="130" y="319"/>
                  </a:lnTo>
                  <a:lnTo>
                    <a:pt x="118" y="319"/>
                  </a:lnTo>
                  <a:lnTo>
                    <a:pt x="115" y="319"/>
                  </a:lnTo>
                  <a:lnTo>
                    <a:pt x="112" y="322"/>
                  </a:lnTo>
                  <a:lnTo>
                    <a:pt x="112" y="325"/>
                  </a:lnTo>
                  <a:lnTo>
                    <a:pt x="103" y="328"/>
                  </a:lnTo>
                  <a:lnTo>
                    <a:pt x="91" y="328"/>
                  </a:lnTo>
                  <a:lnTo>
                    <a:pt x="88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77" y="349"/>
                  </a:lnTo>
                  <a:lnTo>
                    <a:pt x="71" y="349"/>
                  </a:lnTo>
                  <a:lnTo>
                    <a:pt x="59" y="34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0" name="Freeform 141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529072" y="1482547"/>
              <a:ext cx="51220" cy="23072"/>
            </a:xfrm>
            <a:custGeom>
              <a:avLst/>
              <a:gdLst>
                <a:gd name="T0" fmla="*/ 9 w 310"/>
                <a:gd name="T1" fmla="*/ 92 h 130"/>
                <a:gd name="T2" fmla="*/ 12 w 310"/>
                <a:gd name="T3" fmla="*/ 80 h 130"/>
                <a:gd name="T4" fmla="*/ 9 w 310"/>
                <a:gd name="T5" fmla="*/ 56 h 130"/>
                <a:gd name="T6" fmla="*/ 30 w 310"/>
                <a:gd name="T7" fmla="*/ 38 h 130"/>
                <a:gd name="T8" fmla="*/ 57 w 310"/>
                <a:gd name="T9" fmla="*/ 33 h 130"/>
                <a:gd name="T10" fmla="*/ 68 w 310"/>
                <a:gd name="T11" fmla="*/ 38 h 130"/>
                <a:gd name="T12" fmla="*/ 86 w 310"/>
                <a:gd name="T13" fmla="*/ 36 h 130"/>
                <a:gd name="T14" fmla="*/ 104 w 310"/>
                <a:gd name="T15" fmla="*/ 33 h 130"/>
                <a:gd name="T16" fmla="*/ 116 w 310"/>
                <a:gd name="T17" fmla="*/ 44 h 130"/>
                <a:gd name="T18" fmla="*/ 127 w 310"/>
                <a:gd name="T19" fmla="*/ 41 h 130"/>
                <a:gd name="T20" fmla="*/ 136 w 310"/>
                <a:gd name="T21" fmla="*/ 41 h 130"/>
                <a:gd name="T22" fmla="*/ 145 w 310"/>
                <a:gd name="T23" fmla="*/ 50 h 130"/>
                <a:gd name="T24" fmla="*/ 157 w 310"/>
                <a:gd name="T25" fmla="*/ 38 h 130"/>
                <a:gd name="T26" fmla="*/ 169 w 310"/>
                <a:gd name="T27" fmla="*/ 30 h 130"/>
                <a:gd name="T28" fmla="*/ 172 w 310"/>
                <a:gd name="T29" fmla="*/ 21 h 130"/>
                <a:gd name="T30" fmla="*/ 183 w 310"/>
                <a:gd name="T31" fmla="*/ 24 h 130"/>
                <a:gd name="T32" fmla="*/ 189 w 310"/>
                <a:gd name="T33" fmla="*/ 12 h 130"/>
                <a:gd name="T34" fmla="*/ 198 w 310"/>
                <a:gd name="T35" fmla="*/ 6 h 130"/>
                <a:gd name="T36" fmla="*/ 207 w 310"/>
                <a:gd name="T37" fmla="*/ 15 h 130"/>
                <a:gd name="T38" fmla="*/ 225 w 310"/>
                <a:gd name="T39" fmla="*/ 9 h 130"/>
                <a:gd name="T40" fmla="*/ 237 w 310"/>
                <a:gd name="T41" fmla="*/ 0 h 130"/>
                <a:gd name="T42" fmla="*/ 237 w 310"/>
                <a:gd name="T43" fmla="*/ 9 h 130"/>
                <a:gd name="T44" fmla="*/ 237 w 310"/>
                <a:gd name="T45" fmla="*/ 18 h 130"/>
                <a:gd name="T46" fmla="*/ 237 w 310"/>
                <a:gd name="T47" fmla="*/ 33 h 130"/>
                <a:gd name="T48" fmla="*/ 234 w 310"/>
                <a:gd name="T49" fmla="*/ 44 h 130"/>
                <a:gd name="T50" fmla="*/ 245 w 310"/>
                <a:gd name="T51" fmla="*/ 41 h 130"/>
                <a:gd name="T52" fmla="*/ 266 w 310"/>
                <a:gd name="T53" fmla="*/ 36 h 130"/>
                <a:gd name="T54" fmla="*/ 284 w 310"/>
                <a:gd name="T55" fmla="*/ 47 h 130"/>
                <a:gd name="T56" fmla="*/ 284 w 310"/>
                <a:gd name="T57" fmla="*/ 62 h 130"/>
                <a:gd name="T58" fmla="*/ 302 w 310"/>
                <a:gd name="T59" fmla="*/ 71 h 130"/>
                <a:gd name="T60" fmla="*/ 310 w 310"/>
                <a:gd name="T61" fmla="*/ 86 h 130"/>
                <a:gd name="T62" fmla="*/ 299 w 310"/>
                <a:gd name="T63" fmla="*/ 106 h 130"/>
                <a:gd name="T64" fmla="*/ 278 w 310"/>
                <a:gd name="T65" fmla="*/ 115 h 130"/>
                <a:gd name="T66" fmla="*/ 272 w 310"/>
                <a:gd name="T67" fmla="*/ 115 h 130"/>
                <a:gd name="T68" fmla="*/ 260 w 310"/>
                <a:gd name="T69" fmla="*/ 115 h 130"/>
                <a:gd name="T70" fmla="*/ 257 w 310"/>
                <a:gd name="T71" fmla="*/ 112 h 130"/>
                <a:gd name="T72" fmla="*/ 248 w 310"/>
                <a:gd name="T73" fmla="*/ 112 h 130"/>
                <a:gd name="T74" fmla="*/ 237 w 310"/>
                <a:gd name="T75" fmla="*/ 106 h 130"/>
                <a:gd name="T76" fmla="*/ 228 w 310"/>
                <a:gd name="T77" fmla="*/ 109 h 130"/>
                <a:gd name="T78" fmla="*/ 207 w 310"/>
                <a:gd name="T79" fmla="*/ 112 h 130"/>
                <a:gd name="T80" fmla="*/ 198 w 310"/>
                <a:gd name="T81" fmla="*/ 118 h 130"/>
                <a:gd name="T82" fmla="*/ 189 w 310"/>
                <a:gd name="T83" fmla="*/ 118 h 130"/>
                <a:gd name="T84" fmla="*/ 186 w 310"/>
                <a:gd name="T85" fmla="*/ 115 h 130"/>
                <a:gd name="T86" fmla="*/ 175 w 310"/>
                <a:gd name="T87" fmla="*/ 118 h 130"/>
                <a:gd name="T88" fmla="*/ 157 w 310"/>
                <a:gd name="T89" fmla="*/ 115 h 130"/>
                <a:gd name="T90" fmla="*/ 148 w 310"/>
                <a:gd name="T91" fmla="*/ 115 h 130"/>
                <a:gd name="T92" fmla="*/ 133 w 310"/>
                <a:gd name="T93" fmla="*/ 118 h 130"/>
                <a:gd name="T94" fmla="*/ 119 w 310"/>
                <a:gd name="T95" fmla="*/ 124 h 130"/>
                <a:gd name="T96" fmla="*/ 107 w 310"/>
                <a:gd name="T97" fmla="*/ 124 h 130"/>
                <a:gd name="T98" fmla="*/ 95 w 310"/>
                <a:gd name="T99" fmla="*/ 127 h 130"/>
                <a:gd name="T100" fmla="*/ 86 w 310"/>
                <a:gd name="T101" fmla="*/ 124 h 130"/>
                <a:gd name="T102" fmla="*/ 74 w 310"/>
                <a:gd name="T103" fmla="*/ 127 h 130"/>
                <a:gd name="T104" fmla="*/ 62 w 310"/>
                <a:gd name="T105" fmla="*/ 130 h 130"/>
                <a:gd name="T106" fmla="*/ 54 w 310"/>
                <a:gd name="T107" fmla="*/ 127 h 130"/>
                <a:gd name="T108" fmla="*/ 42 w 310"/>
                <a:gd name="T109" fmla="*/ 127 h 130"/>
                <a:gd name="T110" fmla="*/ 30 w 310"/>
                <a:gd name="T111" fmla="*/ 124 h 130"/>
                <a:gd name="T112" fmla="*/ 21 w 310"/>
                <a:gd name="T113" fmla="*/ 121 h 130"/>
                <a:gd name="T114" fmla="*/ 9 w 310"/>
                <a:gd name="T115" fmla="*/ 118 h 130"/>
                <a:gd name="T116" fmla="*/ 3 w 310"/>
                <a:gd name="T117" fmla="*/ 121 h 130"/>
                <a:gd name="T118" fmla="*/ 0 w 310"/>
                <a:gd name="T119" fmla="*/ 112 h 130"/>
                <a:gd name="T120" fmla="*/ 0 w 310"/>
                <a:gd name="T121" fmla="*/ 103 h 1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0"/>
                <a:gd name="T184" fmla="*/ 0 h 130"/>
                <a:gd name="T185" fmla="*/ 310 w 310"/>
                <a:gd name="T186" fmla="*/ 130 h 1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0" h="130">
                  <a:moveTo>
                    <a:pt x="0" y="103"/>
                  </a:moveTo>
                  <a:lnTo>
                    <a:pt x="3" y="98"/>
                  </a:lnTo>
                  <a:lnTo>
                    <a:pt x="9" y="92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12" y="80"/>
                  </a:lnTo>
                  <a:lnTo>
                    <a:pt x="6" y="71"/>
                  </a:lnTo>
                  <a:lnTo>
                    <a:pt x="6" y="68"/>
                  </a:lnTo>
                  <a:lnTo>
                    <a:pt x="9" y="56"/>
                  </a:lnTo>
                  <a:lnTo>
                    <a:pt x="15" y="50"/>
                  </a:lnTo>
                  <a:lnTo>
                    <a:pt x="21" y="44"/>
                  </a:lnTo>
                  <a:lnTo>
                    <a:pt x="30" y="38"/>
                  </a:lnTo>
                  <a:lnTo>
                    <a:pt x="33" y="36"/>
                  </a:lnTo>
                  <a:lnTo>
                    <a:pt x="45" y="36"/>
                  </a:lnTo>
                  <a:lnTo>
                    <a:pt x="57" y="33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74" y="38"/>
                  </a:lnTo>
                  <a:lnTo>
                    <a:pt x="80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8" y="33"/>
                  </a:lnTo>
                  <a:lnTo>
                    <a:pt x="104" y="33"/>
                  </a:lnTo>
                  <a:lnTo>
                    <a:pt x="113" y="36"/>
                  </a:lnTo>
                  <a:lnTo>
                    <a:pt x="116" y="38"/>
                  </a:lnTo>
                  <a:lnTo>
                    <a:pt x="116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7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6" y="47"/>
                  </a:lnTo>
                  <a:lnTo>
                    <a:pt x="142" y="53"/>
                  </a:lnTo>
                  <a:lnTo>
                    <a:pt x="145" y="50"/>
                  </a:lnTo>
                  <a:lnTo>
                    <a:pt x="148" y="44"/>
                  </a:lnTo>
                  <a:lnTo>
                    <a:pt x="148" y="41"/>
                  </a:lnTo>
                  <a:lnTo>
                    <a:pt x="157" y="38"/>
                  </a:lnTo>
                  <a:lnTo>
                    <a:pt x="163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6" y="27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24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6" y="21"/>
                  </a:lnTo>
                  <a:lnTo>
                    <a:pt x="189" y="15"/>
                  </a:lnTo>
                  <a:lnTo>
                    <a:pt x="189" y="12"/>
                  </a:lnTo>
                  <a:lnTo>
                    <a:pt x="195" y="9"/>
                  </a:lnTo>
                  <a:lnTo>
                    <a:pt x="195" y="6"/>
                  </a:lnTo>
                  <a:lnTo>
                    <a:pt x="198" y="6"/>
                  </a:lnTo>
                  <a:lnTo>
                    <a:pt x="204" y="9"/>
                  </a:lnTo>
                  <a:lnTo>
                    <a:pt x="204" y="12"/>
                  </a:lnTo>
                  <a:lnTo>
                    <a:pt x="207" y="15"/>
                  </a:lnTo>
                  <a:lnTo>
                    <a:pt x="213" y="9"/>
                  </a:lnTo>
                  <a:lnTo>
                    <a:pt x="219" y="9"/>
                  </a:lnTo>
                  <a:lnTo>
                    <a:pt x="225" y="9"/>
                  </a:lnTo>
                  <a:lnTo>
                    <a:pt x="231" y="6"/>
                  </a:lnTo>
                  <a:lnTo>
                    <a:pt x="234" y="3"/>
                  </a:lnTo>
                  <a:lnTo>
                    <a:pt x="237" y="0"/>
                  </a:lnTo>
                  <a:lnTo>
                    <a:pt x="242" y="3"/>
                  </a:lnTo>
                  <a:lnTo>
                    <a:pt x="242" y="6"/>
                  </a:lnTo>
                  <a:lnTo>
                    <a:pt x="237" y="9"/>
                  </a:lnTo>
                  <a:lnTo>
                    <a:pt x="237" y="12"/>
                  </a:lnTo>
                  <a:lnTo>
                    <a:pt x="234" y="15"/>
                  </a:lnTo>
                  <a:lnTo>
                    <a:pt x="237" y="18"/>
                  </a:lnTo>
                  <a:lnTo>
                    <a:pt x="237" y="24"/>
                  </a:lnTo>
                  <a:lnTo>
                    <a:pt x="240" y="27"/>
                  </a:lnTo>
                  <a:lnTo>
                    <a:pt x="237" y="33"/>
                  </a:lnTo>
                  <a:lnTo>
                    <a:pt x="237" y="36"/>
                  </a:lnTo>
                  <a:lnTo>
                    <a:pt x="234" y="41"/>
                  </a:lnTo>
                  <a:lnTo>
                    <a:pt x="234" y="44"/>
                  </a:lnTo>
                  <a:lnTo>
                    <a:pt x="237" y="47"/>
                  </a:lnTo>
                  <a:lnTo>
                    <a:pt x="242" y="44"/>
                  </a:lnTo>
                  <a:lnTo>
                    <a:pt x="245" y="41"/>
                  </a:lnTo>
                  <a:lnTo>
                    <a:pt x="254" y="38"/>
                  </a:lnTo>
                  <a:lnTo>
                    <a:pt x="260" y="36"/>
                  </a:lnTo>
                  <a:lnTo>
                    <a:pt x="266" y="36"/>
                  </a:lnTo>
                  <a:lnTo>
                    <a:pt x="269" y="41"/>
                  </a:lnTo>
                  <a:lnTo>
                    <a:pt x="275" y="44"/>
                  </a:lnTo>
                  <a:lnTo>
                    <a:pt x="284" y="47"/>
                  </a:lnTo>
                  <a:lnTo>
                    <a:pt x="290" y="50"/>
                  </a:lnTo>
                  <a:lnTo>
                    <a:pt x="287" y="56"/>
                  </a:lnTo>
                  <a:lnTo>
                    <a:pt x="284" y="62"/>
                  </a:lnTo>
                  <a:lnTo>
                    <a:pt x="284" y="65"/>
                  </a:lnTo>
                  <a:lnTo>
                    <a:pt x="290" y="65"/>
                  </a:lnTo>
                  <a:lnTo>
                    <a:pt x="302" y="71"/>
                  </a:lnTo>
                  <a:lnTo>
                    <a:pt x="307" y="77"/>
                  </a:lnTo>
                  <a:lnTo>
                    <a:pt x="310" y="80"/>
                  </a:lnTo>
                  <a:lnTo>
                    <a:pt x="310" y="86"/>
                  </a:lnTo>
                  <a:lnTo>
                    <a:pt x="307" y="95"/>
                  </a:lnTo>
                  <a:lnTo>
                    <a:pt x="302" y="103"/>
                  </a:lnTo>
                  <a:lnTo>
                    <a:pt x="299" y="106"/>
                  </a:lnTo>
                  <a:lnTo>
                    <a:pt x="293" y="109"/>
                  </a:lnTo>
                  <a:lnTo>
                    <a:pt x="287" y="112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2" y="118"/>
                  </a:lnTo>
                  <a:lnTo>
                    <a:pt x="272" y="115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0" y="115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7" y="112"/>
                  </a:lnTo>
                  <a:lnTo>
                    <a:pt x="254" y="112"/>
                  </a:lnTo>
                  <a:lnTo>
                    <a:pt x="251" y="112"/>
                  </a:lnTo>
                  <a:lnTo>
                    <a:pt x="248" y="112"/>
                  </a:lnTo>
                  <a:lnTo>
                    <a:pt x="245" y="109"/>
                  </a:lnTo>
                  <a:lnTo>
                    <a:pt x="240" y="106"/>
                  </a:lnTo>
                  <a:lnTo>
                    <a:pt x="237" y="106"/>
                  </a:lnTo>
                  <a:lnTo>
                    <a:pt x="234" y="109"/>
                  </a:lnTo>
                  <a:lnTo>
                    <a:pt x="231" y="109"/>
                  </a:lnTo>
                  <a:lnTo>
                    <a:pt x="228" y="109"/>
                  </a:lnTo>
                  <a:lnTo>
                    <a:pt x="222" y="109"/>
                  </a:lnTo>
                  <a:lnTo>
                    <a:pt x="213" y="112"/>
                  </a:lnTo>
                  <a:lnTo>
                    <a:pt x="207" y="112"/>
                  </a:lnTo>
                  <a:lnTo>
                    <a:pt x="204" y="115"/>
                  </a:lnTo>
                  <a:lnTo>
                    <a:pt x="201" y="115"/>
                  </a:lnTo>
                  <a:lnTo>
                    <a:pt x="198" y="118"/>
                  </a:lnTo>
                  <a:lnTo>
                    <a:pt x="195" y="118"/>
                  </a:lnTo>
                  <a:lnTo>
                    <a:pt x="192" y="118"/>
                  </a:lnTo>
                  <a:lnTo>
                    <a:pt x="189" y="118"/>
                  </a:lnTo>
                  <a:lnTo>
                    <a:pt x="189" y="115"/>
                  </a:lnTo>
                  <a:lnTo>
                    <a:pt x="189" y="112"/>
                  </a:lnTo>
                  <a:lnTo>
                    <a:pt x="186" y="115"/>
                  </a:lnTo>
                  <a:lnTo>
                    <a:pt x="181" y="118"/>
                  </a:lnTo>
                  <a:lnTo>
                    <a:pt x="178" y="118"/>
                  </a:lnTo>
                  <a:lnTo>
                    <a:pt x="175" y="118"/>
                  </a:lnTo>
                  <a:lnTo>
                    <a:pt x="169" y="118"/>
                  </a:lnTo>
                  <a:lnTo>
                    <a:pt x="166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1" y="115"/>
                  </a:lnTo>
                  <a:lnTo>
                    <a:pt x="148" y="115"/>
                  </a:lnTo>
                  <a:lnTo>
                    <a:pt x="145" y="118"/>
                  </a:lnTo>
                  <a:lnTo>
                    <a:pt x="139" y="118"/>
                  </a:lnTo>
                  <a:lnTo>
                    <a:pt x="133" y="118"/>
                  </a:lnTo>
                  <a:lnTo>
                    <a:pt x="127" y="121"/>
                  </a:lnTo>
                  <a:lnTo>
                    <a:pt x="121" y="121"/>
                  </a:lnTo>
                  <a:lnTo>
                    <a:pt x="119" y="124"/>
                  </a:lnTo>
                  <a:lnTo>
                    <a:pt x="113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1" y="124"/>
                  </a:lnTo>
                  <a:lnTo>
                    <a:pt x="98" y="127"/>
                  </a:lnTo>
                  <a:lnTo>
                    <a:pt x="95" y="127"/>
                  </a:lnTo>
                  <a:lnTo>
                    <a:pt x="92" y="124"/>
                  </a:lnTo>
                  <a:lnTo>
                    <a:pt x="89" y="124"/>
                  </a:lnTo>
                  <a:lnTo>
                    <a:pt x="86" y="124"/>
                  </a:lnTo>
                  <a:lnTo>
                    <a:pt x="80" y="124"/>
                  </a:lnTo>
                  <a:lnTo>
                    <a:pt x="77" y="127"/>
                  </a:lnTo>
                  <a:lnTo>
                    <a:pt x="74" y="127"/>
                  </a:lnTo>
                  <a:lnTo>
                    <a:pt x="68" y="130"/>
                  </a:lnTo>
                  <a:lnTo>
                    <a:pt x="65" y="130"/>
                  </a:lnTo>
                  <a:lnTo>
                    <a:pt x="62" y="130"/>
                  </a:lnTo>
                  <a:lnTo>
                    <a:pt x="60" y="130"/>
                  </a:lnTo>
                  <a:lnTo>
                    <a:pt x="57" y="127"/>
                  </a:lnTo>
                  <a:lnTo>
                    <a:pt x="54" y="127"/>
                  </a:lnTo>
                  <a:lnTo>
                    <a:pt x="51" y="127"/>
                  </a:lnTo>
                  <a:lnTo>
                    <a:pt x="48" y="127"/>
                  </a:lnTo>
                  <a:lnTo>
                    <a:pt x="42" y="127"/>
                  </a:lnTo>
                  <a:lnTo>
                    <a:pt x="39" y="124"/>
                  </a:lnTo>
                  <a:lnTo>
                    <a:pt x="33" y="127"/>
                  </a:lnTo>
                  <a:lnTo>
                    <a:pt x="30" y="124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1" y="121"/>
                  </a:lnTo>
                  <a:lnTo>
                    <a:pt x="15" y="118"/>
                  </a:lnTo>
                  <a:lnTo>
                    <a:pt x="12" y="118"/>
                  </a:lnTo>
                  <a:lnTo>
                    <a:pt x="9" y="118"/>
                  </a:lnTo>
                  <a:lnTo>
                    <a:pt x="6" y="118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1" name="Freeform 142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525768" y="1435516"/>
              <a:ext cx="103762" cy="85365"/>
            </a:xfrm>
            <a:custGeom>
              <a:avLst/>
              <a:gdLst>
                <a:gd name="T0" fmla="*/ 9 w 628"/>
                <a:gd name="T1" fmla="*/ 256 h 481"/>
                <a:gd name="T2" fmla="*/ 9 w 628"/>
                <a:gd name="T3" fmla="*/ 221 h 481"/>
                <a:gd name="T4" fmla="*/ 41 w 628"/>
                <a:gd name="T5" fmla="*/ 215 h 481"/>
                <a:gd name="T6" fmla="*/ 56 w 628"/>
                <a:gd name="T7" fmla="*/ 203 h 481"/>
                <a:gd name="T8" fmla="*/ 74 w 628"/>
                <a:gd name="T9" fmla="*/ 206 h 481"/>
                <a:gd name="T10" fmla="*/ 100 w 628"/>
                <a:gd name="T11" fmla="*/ 209 h 481"/>
                <a:gd name="T12" fmla="*/ 147 w 628"/>
                <a:gd name="T13" fmla="*/ 200 h 481"/>
                <a:gd name="T14" fmla="*/ 168 w 628"/>
                <a:gd name="T15" fmla="*/ 191 h 481"/>
                <a:gd name="T16" fmla="*/ 186 w 628"/>
                <a:gd name="T17" fmla="*/ 197 h 481"/>
                <a:gd name="T18" fmla="*/ 203 w 628"/>
                <a:gd name="T19" fmla="*/ 194 h 481"/>
                <a:gd name="T20" fmla="*/ 215 w 628"/>
                <a:gd name="T21" fmla="*/ 191 h 481"/>
                <a:gd name="T22" fmla="*/ 224 w 628"/>
                <a:gd name="T23" fmla="*/ 183 h 481"/>
                <a:gd name="T24" fmla="*/ 254 w 628"/>
                <a:gd name="T25" fmla="*/ 183 h 481"/>
                <a:gd name="T26" fmla="*/ 292 w 628"/>
                <a:gd name="T27" fmla="*/ 153 h 481"/>
                <a:gd name="T28" fmla="*/ 372 w 628"/>
                <a:gd name="T29" fmla="*/ 150 h 481"/>
                <a:gd name="T30" fmla="*/ 431 w 628"/>
                <a:gd name="T31" fmla="*/ 94 h 481"/>
                <a:gd name="T32" fmla="*/ 451 w 628"/>
                <a:gd name="T33" fmla="*/ 64 h 481"/>
                <a:gd name="T34" fmla="*/ 475 w 628"/>
                <a:gd name="T35" fmla="*/ 64 h 481"/>
                <a:gd name="T36" fmla="*/ 561 w 628"/>
                <a:gd name="T37" fmla="*/ 20 h 481"/>
                <a:gd name="T38" fmla="*/ 617 w 628"/>
                <a:gd name="T39" fmla="*/ 3 h 481"/>
                <a:gd name="T40" fmla="*/ 614 w 628"/>
                <a:gd name="T41" fmla="*/ 53 h 481"/>
                <a:gd name="T42" fmla="*/ 620 w 628"/>
                <a:gd name="T43" fmla="*/ 79 h 481"/>
                <a:gd name="T44" fmla="*/ 578 w 628"/>
                <a:gd name="T45" fmla="*/ 97 h 481"/>
                <a:gd name="T46" fmla="*/ 543 w 628"/>
                <a:gd name="T47" fmla="*/ 129 h 481"/>
                <a:gd name="T48" fmla="*/ 490 w 628"/>
                <a:gd name="T49" fmla="*/ 168 h 481"/>
                <a:gd name="T50" fmla="*/ 469 w 628"/>
                <a:gd name="T51" fmla="*/ 185 h 481"/>
                <a:gd name="T52" fmla="*/ 445 w 628"/>
                <a:gd name="T53" fmla="*/ 224 h 481"/>
                <a:gd name="T54" fmla="*/ 434 w 628"/>
                <a:gd name="T55" fmla="*/ 271 h 481"/>
                <a:gd name="T56" fmla="*/ 389 w 628"/>
                <a:gd name="T57" fmla="*/ 303 h 481"/>
                <a:gd name="T58" fmla="*/ 398 w 628"/>
                <a:gd name="T59" fmla="*/ 342 h 481"/>
                <a:gd name="T60" fmla="*/ 383 w 628"/>
                <a:gd name="T61" fmla="*/ 395 h 481"/>
                <a:gd name="T62" fmla="*/ 369 w 628"/>
                <a:gd name="T63" fmla="*/ 439 h 481"/>
                <a:gd name="T64" fmla="*/ 330 w 628"/>
                <a:gd name="T65" fmla="*/ 454 h 481"/>
                <a:gd name="T66" fmla="*/ 304 w 628"/>
                <a:gd name="T67" fmla="*/ 472 h 481"/>
                <a:gd name="T68" fmla="*/ 286 w 628"/>
                <a:gd name="T69" fmla="*/ 448 h 481"/>
                <a:gd name="T70" fmla="*/ 286 w 628"/>
                <a:gd name="T71" fmla="*/ 416 h 481"/>
                <a:gd name="T72" fmla="*/ 289 w 628"/>
                <a:gd name="T73" fmla="*/ 401 h 481"/>
                <a:gd name="T74" fmla="*/ 310 w 628"/>
                <a:gd name="T75" fmla="*/ 401 h 481"/>
                <a:gd name="T76" fmla="*/ 298 w 628"/>
                <a:gd name="T77" fmla="*/ 386 h 481"/>
                <a:gd name="T78" fmla="*/ 322 w 628"/>
                <a:gd name="T79" fmla="*/ 368 h 481"/>
                <a:gd name="T80" fmla="*/ 304 w 628"/>
                <a:gd name="T81" fmla="*/ 327 h 481"/>
                <a:gd name="T82" fmla="*/ 274 w 628"/>
                <a:gd name="T83" fmla="*/ 303 h 481"/>
                <a:gd name="T84" fmla="*/ 260 w 628"/>
                <a:gd name="T85" fmla="*/ 292 h 481"/>
                <a:gd name="T86" fmla="*/ 257 w 628"/>
                <a:gd name="T87" fmla="*/ 265 h 481"/>
                <a:gd name="T88" fmla="*/ 224 w 628"/>
                <a:gd name="T89" fmla="*/ 274 h 481"/>
                <a:gd name="T90" fmla="*/ 198 w 628"/>
                <a:gd name="T91" fmla="*/ 289 h 481"/>
                <a:gd name="T92" fmla="*/ 177 w 628"/>
                <a:gd name="T93" fmla="*/ 303 h 481"/>
                <a:gd name="T94" fmla="*/ 153 w 628"/>
                <a:gd name="T95" fmla="*/ 303 h 481"/>
                <a:gd name="T96" fmla="*/ 118 w 628"/>
                <a:gd name="T97" fmla="*/ 298 h 481"/>
                <a:gd name="T98" fmla="*/ 77 w 628"/>
                <a:gd name="T99" fmla="*/ 298 h 481"/>
                <a:gd name="T100" fmla="*/ 26 w 628"/>
                <a:gd name="T101" fmla="*/ 336 h 481"/>
                <a:gd name="T102" fmla="*/ 20 w 628"/>
                <a:gd name="T103" fmla="*/ 360 h 481"/>
                <a:gd name="T104" fmla="*/ 20 w 628"/>
                <a:gd name="T105" fmla="*/ 348 h 481"/>
                <a:gd name="T106" fmla="*/ 15 w 628"/>
                <a:gd name="T107" fmla="*/ 324 h 481"/>
                <a:gd name="T108" fmla="*/ 18 w 628"/>
                <a:gd name="T109" fmla="*/ 306 h 481"/>
                <a:gd name="T110" fmla="*/ 9 w 628"/>
                <a:gd name="T111" fmla="*/ 292 h 48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481"/>
                <a:gd name="T170" fmla="*/ 628 w 628"/>
                <a:gd name="T171" fmla="*/ 481 h 48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481">
                  <a:moveTo>
                    <a:pt x="3" y="289"/>
                  </a:moveTo>
                  <a:lnTo>
                    <a:pt x="3" y="286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9" y="262"/>
                  </a:lnTo>
                  <a:lnTo>
                    <a:pt x="9" y="256"/>
                  </a:lnTo>
                  <a:lnTo>
                    <a:pt x="9" y="250"/>
                  </a:lnTo>
                  <a:lnTo>
                    <a:pt x="12" y="244"/>
                  </a:lnTo>
                  <a:lnTo>
                    <a:pt x="9" y="242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27"/>
                  </a:lnTo>
                  <a:lnTo>
                    <a:pt x="9" y="224"/>
                  </a:lnTo>
                  <a:lnTo>
                    <a:pt x="9" y="221"/>
                  </a:lnTo>
                  <a:lnTo>
                    <a:pt x="12" y="224"/>
                  </a:lnTo>
                  <a:lnTo>
                    <a:pt x="15" y="224"/>
                  </a:lnTo>
                  <a:lnTo>
                    <a:pt x="18" y="224"/>
                  </a:lnTo>
                  <a:lnTo>
                    <a:pt x="23" y="221"/>
                  </a:lnTo>
                  <a:lnTo>
                    <a:pt x="29" y="221"/>
                  </a:lnTo>
                  <a:lnTo>
                    <a:pt x="32" y="218"/>
                  </a:lnTo>
                  <a:lnTo>
                    <a:pt x="41" y="218"/>
                  </a:lnTo>
                  <a:lnTo>
                    <a:pt x="41" y="215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7" y="206"/>
                  </a:lnTo>
                  <a:lnTo>
                    <a:pt x="50" y="206"/>
                  </a:lnTo>
                  <a:lnTo>
                    <a:pt x="53" y="206"/>
                  </a:lnTo>
                  <a:lnTo>
                    <a:pt x="56" y="203"/>
                  </a:lnTo>
                  <a:lnTo>
                    <a:pt x="56" y="200"/>
                  </a:lnTo>
                  <a:lnTo>
                    <a:pt x="59" y="200"/>
                  </a:lnTo>
                  <a:lnTo>
                    <a:pt x="62" y="200"/>
                  </a:lnTo>
                  <a:lnTo>
                    <a:pt x="62" y="197"/>
                  </a:lnTo>
                  <a:lnTo>
                    <a:pt x="65" y="197"/>
                  </a:lnTo>
                  <a:lnTo>
                    <a:pt x="68" y="200"/>
                  </a:lnTo>
                  <a:lnTo>
                    <a:pt x="71" y="203"/>
                  </a:lnTo>
                  <a:lnTo>
                    <a:pt x="74" y="206"/>
                  </a:lnTo>
                  <a:lnTo>
                    <a:pt x="77" y="206"/>
                  </a:lnTo>
                  <a:lnTo>
                    <a:pt x="80" y="206"/>
                  </a:lnTo>
                  <a:lnTo>
                    <a:pt x="82" y="209"/>
                  </a:lnTo>
                  <a:lnTo>
                    <a:pt x="85" y="209"/>
                  </a:lnTo>
                  <a:lnTo>
                    <a:pt x="88" y="209"/>
                  </a:lnTo>
                  <a:lnTo>
                    <a:pt x="91" y="209"/>
                  </a:lnTo>
                  <a:lnTo>
                    <a:pt x="94" y="209"/>
                  </a:lnTo>
                  <a:lnTo>
                    <a:pt x="100" y="209"/>
                  </a:lnTo>
                  <a:lnTo>
                    <a:pt x="121" y="206"/>
                  </a:lnTo>
                  <a:lnTo>
                    <a:pt x="124" y="206"/>
                  </a:lnTo>
                  <a:lnTo>
                    <a:pt x="130" y="206"/>
                  </a:lnTo>
                  <a:lnTo>
                    <a:pt x="130" y="203"/>
                  </a:lnTo>
                  <a:lnTo>
                    <a:pt x="133" y="200"/>
                  </a:lnTo>
                  <a:lnTo>
                    <a:pt x="139" y="200"/>
                  </a:lnTo>
                  <a:lnTo>
                    <a:pt x="144" y="200"/>
                  </a:lnTo>
                  <a:lnTo>
                    <a:pt x="147" y="200"/>
                  </a:lnTo>
                  <a:lnTo>
                    <a:pt x="153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62" y="200"/>
                  </a:lnTo>
                  <a:lnTo>
                    <a:pt x="165" y="200"/>
                  </a:lnTo>
                  <a:lnTo>
                    <a:pt x="165" y="194"/>
                  </a:lnTo>
                  <a:lnTo>
                    <a:pt x="168" y="194"/>
                  </a:lnTo>
                  <a:lnTo>
                    <a:pt x="168" y="191"/>
                  </a:lnTo>
                  <a:lnTo>
                    <a:pt x="171" y="191"/>
                  </a:lnTo>
                  <a:lnTo>
                    <a:pt x="174" y="191"/>
                  </a:lnTo>
                  <a:lnTo>
                    <a:pt x="177" y="188"/>
                  </a:lnTo>
                  <a:lnTo>
                    <a:pt x="177" y="191"/>
                  </a:lnTo>
                  <a:lnTo>
                    <a:pt x="180" y="194"/>
                  </a:lnTo>
                  <a:lnTo>
                    <a:pt x="180" y="197"/>
                  </a:lnTo>
                  <a:lnTo>
                    <a:pt x="183" y="197"/>
                  </a:lnTo>
                  <a:lnTo>
                    <a:pt x="186" y="197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5" y="197"/>
                  </a:lnTo>
                  <a:lnTo>
                    <a:pt x="195" y="194"/>
                  </a:lnTo>
                  <a:lnTo>
                    <a:pt x="198" y="194"/>
                  </a:lnTo>
                  <a:lnTo>
                    <a:pt x="198" y="197"/>
                  </a:lnTo>
                  <a:lnTo>
                    <a:pt x="201" y="194"/>
                  </a:lnTo>
                  <a:lnTo>
                    <a:pt x="203" y="194"/>
                  </a:lnTo>
                  <a:lnTo>
                    <a:pt x="203" y="191"/>
                  </a:lnTo>
                  <a:lnTo>
                    <a:pt x="206" y="191"/>
                  </a:lnTo>
                  <a:lnTo>
                    <a:pt x="206" y="188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5" y="185"/>
                  </a:lnTo>
                  <a:lnTo>
                    <a:pt x="215" y="188"/>
                  </a:lnTo>
                  <a:lnTo>
                    <a:pt x="215" y="191"/>
                  </a:lnTo>
                  <a:lnTo>
                    <a:pt x="218" y="191"/>
                  </a:lnTo>
                  <a:lnTo>
                    <a:pt x="218" y="188"/>
                  </a:lnTo>
                  <a:lnTo>
                    <a:pt x="218" y="185"/>
                  </a:lnTo>
                  <a:lnTo>
                    <a:pt x="221" y="188"/>
                  </a:lnTo>
                  <a:lnTo>
                    <a:pt x="221" y="185"/>
                  </a:lnTo>
                  <a:lnTo>
                    <a:pt x="218" y="183"/>
                  </a:lnTo>
                  <a:lnTo>
                    <a:pt x="221" y="183"/>
                  </a:lnTo>
                  <a:lnTo>
                    <a:pt x="224" y="183"/>
                  </a:lnTo>
                  <a:lnTo>
                    <a:pt x="224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3" y="185"/>
                  </a:lnTo>
                  <a:lnTo>
                    <a:pt x="236" y="185"/>
                  </a:lnTo>
                  <a:lnTo>
                    <a:pt x="236" y="183"/>
                  </a:lnTo>
                  <a:lnTo>
                    <a:pt x="248" y="183"/>
                  </a:lnTo>
                  <a:lnTo>
                    <a:pt x="254" y="183"/>
                  </a:lnTo>
                  <a:lnTo>
                    <a:pt x="262" y="177"/>
                  </a:lnTo>
                  <a:lnTo>
                    <a:pt x="265" y="174"/>
                  </a:lnTo>
                  <a:lnTo>
                    <a:pt x="265" y="171"/>
                  </a:lnTo>
                  <a:lnTo>
                    <a:pt x="268" y="162"/>
                  </a:lnTo>
                  <a:lnTo>
                    <a:pt x="280" y="162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92" y="153"/>
                  </a:lnTo>
                  <a:lnTo>
                    <a:pt x="295" y="153"/>
                  </a:lnTo>
                  <a:lnTo>
                    <a:pt x="307" y="153"/>
                  </a:lnTo>
                  <a:lnTo>
                    <a:pt x="316" y="156"/>
                  </a:lnTo>
                  <a:lnTo>
                    <a:pt x="330" y="159"/>
                  </a:lnTo>
                  <a:lnTo>
                    <a:pt x="339" y="159"/>
                  </a:lnTo>
                  <a:lnTo>
                    <a:pt x="348" y="153"/>
                  </a:lnTo>
                  <a:lnTo>
                    <a:pt x="363" y="153"/>
                  </a:lnTo>
                  <a:lnTo>
                    <a:pt x="372" y="150"/>
                  </a:lnTo>
                  <a:lnTo>
                    <a:pt x="389" y="150"/>
                  </a:lnTo>
                  <a:lnTo>
                    <a:pt x="401" y="141"/>
                  </a:lnTo>
                  <a:lnTo>
                    <a:pt x="404" y="138"/>
                  </a:lnTo>
                  <a:lnTo>
                    <a:pt x="410" y="129"/>
                  </a:lnTo>
                  <a:lnTo>
                    <a:pt x="413" y="121"/>
                  </a:lnTo>
                  <a:lnTo>
                    <a:pt x="416" y="112"/>
                  </a:lnTo>
                  <a:lnTo>
                    <a:pt x="422" y="106"/>
                  </a:lnTo>
                  <a:lnTo>
                    <a:pt x="431" y="94"/>
                  </a:lnTo>
                  <a:lnTo>
                    <a:pt x="437" y="85"/>
                  </a:lnTo>
                  <a:lnTo>
                    <a:pt x="443" y="79"/>
                  </a:lnTo>
                  <a:lnTo>
                    <a:pt x="448" y="76"/>
                  </a:lnTo>
                  <a:lnTo>
                    <a:pt x="443" y="73"/>
                  </a:lnTo>
                  <a:lnTo>
                    <a:pt x="443" y="67"/>
                  </a:lnTo>
                  <a:lnTo>
                    <a:pt x="443" y="62"/>
                  </a:lnTo>
                  <a:lnTo>
                    <a:pt x="448" y="64"/>
                  </a:lnTo>
                  <a:lnTo>
                    <a:pt x="451" y="64"/>
                  </a:lnTo>
                  <a:lnTo>
                    <a:pt x="448" y="67"/>
                  </a:lnTo>
                  <a:lnTo>
                    <a:pt x="451" y="67"/>
                  </a:lnTo>
                  <a:lnTo>
                    <a:pt x="454" y="67"/>
                  </a:lnTo>
                  <a:lnTo>
                    <a:pt x="460" y="64"/>
                  </a:lnTo>
                  <a:lnTo>
                    <a:pt x="466" y="64"/>
                  </a:lnTo>
                  <a:lnTo>
                    <a:pt x="466" y="67"/>
                  </a:lnTo>
                  <a:lnTo>
                    <a:pt x="472" y="67"/>
                  </a:lnTo>
                  <a:lnTo>
                    <a:pt x="475" y="64"/>
                  </a:lnTo>
                  <a:lnTo>
                    <a:pt x="487" y="59"/>
                  </a:lnTo>
                  <a:lnTo>
                    <a:pt x="499" y="50"/>
                  </a:lnTo>
                  <a:lnTo>
                    <a:pt x="510" y="38"/>
                  </a:lnTo>
                  <a:lnTo>
                    <a:pt x="510" y="41"/>
                  </a:lnTo>
                  <a:lnTo>
                    <a:pt x="522" y="35"/>
                  </a:lnTo>
                  <a:lnTo>
                    <a:pt x="534" y="29"/>
                  </a:lnTo>
                  <a:lnTo>
                    <a:pt x="543" y="26"/>
                  </a:lnTo>
                  <a:lnTo>
                    <a:pt x="561" y="20"/>
                  </a:lnTo>
                  <a:lnTo>
                    <a:pt x="564" y="14"/>
                  </a:lnTo>
                  <a:lnTo>
                    <a:pt x="566" y="11"/>
                  </a:lnTo>
                  <a:lnTo>
                    <a:pt x="572" y="8"/>
                  </a:lnTo>
                  <a:lnTo>
                    <a:pt x="581" y="5"/>
                  </a:lnTo>
                  <a:lnTo>
                    <a:pt x="596" y="3"/>
                  </a:lnTo>
                  <a:lnTo>
                    <a:pt x="605" y="3"/>
                  </a:lnTo>
                  <a:lnTo>
                    <a:pt x="614" y="0"/>
                  </a:lnTo>
                  <a:lnTo>
                    <a:pt x="617" y="3"/>
                  </a:lnTo>
                  <a:lnTo>
                    <a:pt x="608" y="14"/>
                  </a:lnTo>
                  <a:lnTo>
                    <a:pt x="602" y="23"/>
                  </a:lnTo>
                  <a:lnTo>
                    <a:pt x="596" y="29"/>
                  </a:lnTo>
                  <a:lnTo>
                    <a:pt x="599" y="38"/>
                  </a:lnTo>
                  <a:lnTo>
                    <a:pt x="605" y="44"/>
                  </a:lnTo>
                  <a:lnTo>
                    <a:pt x="611" y="50"/>
                  </a:lnTo>
                  <a:lnTo>
                    <a:pt x="614" y="50"/>
                  </a:lnTo>
                  <a:lnTo>
                    <a:pt x="614" y="53"/>
                  </a:lnTo>
                  <a:lnTo>
                    <a:pt x="614" y="56"/>
                  </a:lnTo>
                  <a:lnTo>
                    <a:pt x="614" y="64"/>
                  </a:lnTo>
                  <a:lnTo>
                    <a:pt x="620" y="64"/>
                  </a:lnTo>
                  <a:lnTo>
                    <a:pt x="623" y="62"/>
                  </a:lnTo>
                  <a:lnTo>
                    <a:pt x="628" y="62"/>
                  </a:lnTo>
                  <a:lnTo>
                    <a:pt x="628" y="70"/>
                  </a:lnTo>
                  <a:lnTo>
                    <a:pt x="625" y="73"/>
                  </a:lnTo>
                  <a:lnTo>
                    <a:pt x="620" y="79"/>
                  </a:lnTo>
                  <a:lnTo>
                    <a:pt x="620" y="82"/>
                  </a:lnTo>
                  <a:lnTo>
                    <a:pt x="614" y="82"/>
                  </a:lnTo>
                  <a:lnTo>
                    <a:pt x="608" y="85"/>
                  </a:lnTo>
                  <a:lnTo>
                    <a:pt x="599" y="88"/>
                  </a:lnTo>
                  <a:lnTo>
                    <a:pt x="593" y="91"/>
                  </a:lnTo>
                  <a:lnTo>
                    <a:pt x="584" y="88"/>
                  </a:lnTo>
                  <a:lnTo>
                    <a:pt x="578" y="91"/>
                  </a:lnTo>
                  <a:lnTo>
                    <a:pt x="578" y="97"/>
                  </a:lnTo>
                  <a:lnTo>
                    <a:pt x="575" y="100"/>
                  </a:lnTo>
                  <a:lnTo>
                    <a:pt x="569" y="106"/>
                  </a:lnTo>
                  <a:lnTo>
                    <a:pt x="566" y="109"/>
                  </a:lnTo>
                  <a:lnTo>
                    <a:pt x="561" y="115"/>
                  </a:lnTo>
                  <a:lnTo>
                    <a:pt x="555" y="115"/>
                  </a:lnTo>
                  <a:lnTo>
                    <a:pt x="552" y="121"/>
                  </a:lnTo>
                  <a:lnTo>
                    <a:pt x="549" y="123"/>
                  </a:lnTo>
                  <a:lnTo>
                    <a:pt x="543" y="129"/>
                  </a:lnTo>
                  <a:lnTo>
                    <a:pt x="537" y="132"/>
                  </a:lnTo>
                  <a:lnTo>
                    <a:pt x="531" y="135"/>
                  </a:lnTo>
                  <a:lnTo>
                    <a:pt x="522" y="138"/>
                  </a:lnTo>
                  <a:lnTo>
                    <a:pt x="519" y="144"/>
                  </a:lnTo>
                  <a:lnTo>
                    <a:pt x="513" y="150"/>
                  </a:lnTo>
                  <a:lnTo>
                    <a:pt x="507" y="156"/>
                  </a:lnTo>
                  <a:lnTo>
                    <a:pt x="502" y="162"/>
                  </a:lnTo>
                  <a:lnTo>
                    <a:pt x="490" y="168"/>
                  </a:lnTo>
                  <a:lnTo>
                    <a:pt x="484" y="174"/>
                  </a:lnTo>
                  <a:lnTo>
                    <a:pt x="478" y="180"/>
                  </a:lnTo>
                  <a:lnTo>
                    <a:pt x="478" y="188"/>
                  </a:lnTo>
                  <a:lnTo>
                    <a:pt x="478" y="191"/>
                  </a:lnTo>
                  <a:lnTo>
                    <a:pt x="472" y="194"/>
                  </a:lnTo>
                  <a:lnTo>
                    <a:pt x="469" y="191"/>
                  </a:lnTo>
                  <a:lnTo>
                    <a:pt x="469" y="188"/>
                  </a:lnTo>
                  <a:lnTo>
                    <a:pt x="469" y="185"/>
                  </a:lnTo>
                  <a:lnTo>
                    <a:pt x="463" y="188"/>
                  </a:lnTo>
                  <a:lnTo>
                    <a:pt x="460" y="197"/>
                  </a:lnTo>
                  <a:lnTo>
                    <a:pt x="457" y="203"/>
                  </a:lnTo>
                  <a:lnTo>
                    <a:pt x="457" y="206"/>
                  </a:lnTo>
                  <a:lnTo>
                    <a:pt x="457" y="212"/>
                  </a:lnTo>
                  <a:lnTo>
                    <a:pt x="451" y="215"/>
                  </a:lnTo>
                  <a:lnTo>
                    <a:pt x="448" y="221"/>
                  </a:lnTo>
                  <a:lnTo>
                    <a:pt x="445" y="224"/>
                  </a:lnTo>
                  <a:lnTo>
                    <a:pt x="443" y="242"/>
                  </a:lnTo>
                  <a:lnTo>
                    <a:pt x="443" y="250"/>
                  </a:lnTo>
                  <a:lnTo>
                    <a:pt x="440" y="253"/>
                  </a:lnTo>
                  <a:lnTo>
                    <a:pt x="443" y="256"/>
                  </a:lnTo>
                  <a:lnTo>
                    <a:pt x="445" y="259"/>
                  </a:lnTo>
                  <a:lnTo>
                    <a:pt x="443" y="265"/>
                  </a:lnTo>
                  <a:lnTo>
                    <a:pt x="440" y="268"/>
                  </a:lnTo>
                  <a:lnTo>
                    <a:pt x="434" y="271"/>
                  </a:lnTo>
                  <a:lnTo>
                    <a:pt x="431" y="274"/>
                  </a:lnTo>
                  <a:lnTo>
                    <a:pt x="428" y="271"/>
                  </a:lnTo>
                  <a:lnTo>
                    <a:pt x="428" y="265"/>
                  </a:lnTo>
                  <a:lnTo>
                    <a:pt x="425" y="265"/>
                  </a:lnTo>
                  <a:lnTo>
                    <a:pt x="416" y="274"/>
                  </a:lnTo>
                  <a:lnTo>
                    <a:pt x="410" y="280"/>
                  </a:lnTo>
                  <a:lnTo>
                    <a:pt x="395" y="295"/>
                  </a:lnTo>
                  <a:lnTo>
                    <a:pt x="389" y="303"/>
                  </a:lnTo>
                  <a:lnTo>
                    <a:pt x="383" y="312"/>
                  </a:lnTo>
                  <a:lnTo>
                    <a:pt x="386" y="315"/>
                  </a:lnTo>
                  <a:lnTo>
                    <a:pt x="389" y="318"/>
                  </a:lnTo>
                  <a:lnTo>
                    <a:pt x="395" y="321"/>
                  </a:lnTo>
                  <a:lnTo>
                    <a:pt x="401" y="327"/>
                  </a:lnTo>
                  <a:lnTo>
                    <a:pt x="404" y="333"/>
                  </a:lnTo>
                  <a:lnTo>
                    <a:pt x="401" y="339"/>
                  </a:lnTo>
                  <a:lnTo>
                    <a:pt x="398" y="342"/>
                  </a:lnTo>
                  <a:lnTo>
                    <a:pt x="395" y="348"/>
                  </a:lnTo>
                  <a:lnTo>
                    <a:pt x="392" y="354"/>
                  </a:lnTo>
                  <a:lnTo>
                    <a:pt x="389" y="360"/>
                  </a:lnTo>
                  <a:lnTo>
                    <a:pt x="383" y="371"/>
                  </a:lnTo>
                  <a:lnTo>
                    <a:pt x="383" y="374"/>
                  </a:lnTo>
                  <a:lnTo>
                    <a:pt x="383" y="380"/>
                  </a:lnTo>
                  <a:lnTo>
                    <a:pt x="383" y="386"/>
                  </a:lnTo>
                  <a:lnTo>
                    <a:pt x="383" y="395"/>
                  </a:lnTo>
                  <a:lnTo>
                    <a:pt x="381" y="398"/>
                  </a:lnTo>
                  <a:lnTo>
                    <a:pt x="372" y="401"/>
                  </a:lnTo>
                  <a:lnTo>
                    <a:pt x="369" y="407"/>
                  </a:lnTo>
                  <a:lnTo>
                    <a:pt x="369" y="416"/>
                  </a:lnTo>
                  <a:lnTo>
                    <a:pt x="369" y="422"/>
                  </a:lnTo>
                  <a:lnTo>
                    <a:pt x="372" y="427"/>
                  </a:lnTo>
                  <a:lnTo>
                    <a:pt x="369" y="433"/>
                  </a:lnTo>
                  <a:lnTo>
                    <a:pt x="369" y="439"/>
                  </a:lnTo>
                  <a:lnTo>
                    <a:pt x="366" y="442"/>
                  </a:lnTo>
                  <a:lnTo>
                    <a:pt x="360" y="445"/>
                  </a:lnTo>
                  <a:lnTo>
                    <a:pt x="354" y="445"/>
                  </a:lnTo>
                  <a:lnTo>
                    <a:pt x="351" y="448"/>
                  </a:lnTo>
                  <a:lnTo>
                    <a:pt x="348" y="445"/>
                  </a:lnTo>
                  <a:lnTo>
                    <a:pt x="345" y="439"/>
                  </a:lnTo>
                  <a:lnTo>
                    <a:pt x="336" y="439"/>
                  </a:lnTo>
                  <a:lnTo>
                    <a:pt x="330" y="454"/>
                  </a:lnTo>
                  <a:lnTo>
                    <a:pt x="327" y="457"/>
                  </a:lnTo>
                  <a:lnTo>
                    <a:pt x="324" y="466"/>
                  </a:lnTo>
                  <a:lnTo>
                    <a:pt x="316" y="475"/>
                  </a:lnTo>
                  <a:lnTo>
                    <a:pt x="316" y="478"/>
                  </a:lnTo>
                  <a:lnTo>
                    <a:pt x="310" y="481"/>
                  </a:lnTo>
                  <a:lnTo>
                    <a:pt x="310" y="475"/>
                  </a:lnTo>
                  <a:lnTo>
                    <a:pt x="307" y="475"/>
                  </a:lnTo>
                  <a:lnTo>
                    <a:pt x="304" y="472"/>
                  </a:lnTo>
                  <a:lnTo>
                    <a:pt x="304" y="469"/>
                  </a:lnTo>
                  <a:lnTo>
                    <a:pt x="298" y="469"/>
                  </a:lnTo>
                  <a:lnTo>
                    <a:pt x="292" y="472"/>
                  </a:lnTo>
                  <a:lnTo>
                    <a:pt x="289" y="469"/>
                  </a:lnTo>
                  <a:lnTo>
                    <a:pt x="286" y="463"/>
                  </a:lnTo>
                  <a:lnTo>
                    <a:pt x="286" y="460"/>
                  </a:lnTo>
                  <a:lnTo>
                    <a:pt x="286" y="451"/>
                  </a:lnTo>
                  <a:lnTo>
                    <a:pt x="286" y="448"/>
                  </a:lnTo>
                  <a:lnTo>
                    <a:pt x="286" y="445"/>
                  </a:lnTo>
                  <a:lnTo>
                    <a:pt x="286" y="439"/>
                  </a:lnTo>
                  <a:lnTo>
                    <a:pt x="286" y="433"/>
                  </a:lnTo>
                  <a:lnTo>
                    <a:pt x="286" y="424"/>
                  </a:lnTo>
                  <a:lnTo>
                    <a:pt x="286" y="422"/>
                  </a:lnTo>
                  <a:lnTo>
                    <a:pt x="289" y="422"/>
                  </a:lnTo>
                  <a:lnTo>
                    <a:pt x="289" y="419"/>
                  </a:lnTo>
                  <a:lnTo>
                    <a:pt x="286" y="416"/>
                  </a:lnTo>
                  <a:lnTo>
                    <a:pt x="286" y="413"/>
                  </a:lnTo>
                  <a:lnTo>
                    <a:pt x="286" y="410"/>
                  </a:lnTo>
                  <a:lnTo>
                    <a:pt x="283" y="410"/>
                  </a:lnTo>
                  <a:lnTo>
                    <a:pt x="283" y="407"/>
                  </a:lnTo>
                  <a:lnTo>
                    <a:pt x="280" y="404"/>
                  </a:lnTo>
                  <a:lnTo>
                    <a:pt x="283" y="401"/>
                  </a:lnTo>
                  <a:lnTo>
                    <a:pt x="286" y="398"/>
                  </a:lnTo>
                  <a:lnTo>
                    <a:pt x="289" y="401"/>
                  </a:lnTo>
                  <a:lnTo>
                    <a:pt x="292" y="401"/>
                  </a:lnTo>
                  <a:lnTo>
                    <a:pt x="295" y="401"/>
                  </a:lnTo>
                  <a:lnTo>
                    <a:pt x="295" y="404"/>
                  </a:lnTo>
                  <a:lnTo>
                    <a:pt x="298" y="404"/>
                  </a:lnTo>
                  <a:lnTo>
                    <a:pt x="301" y="404"/>
                  </a:lnTo>
                  <a:lnTo>
                    <a:pt x="307" y="404"/>
                  </a:lnTo>
                  <a:lnTo>
                    <a:pt x="310" y="404"/>
                  </a:lnTo>
                  <a:lnTo>
                    <a:pt x="310" y="401"/>
                  </a:lnTo>
                  <a:lnTo>
                    <a:pt x="307" y="398"/>
                  </a:lnTo>
                  <a:lnTo>
                    <a:pt x="304" y="395"/>
                  </a:lnTo>
                  <a:lnTo>
                    <a:pt x="304" y="392"/>
                  </a:lnTo>
                  <a:lnTo>
                    <a:pt x="301" y="392"/>
                  </a:lnTo>
                  <a:lnTo>
                    <a:pt x="298" y="389"/>
                  </a:lnTo>
                  <a:lnTo>
                    <a:pt x="295" y="389"/>
                  </a:lnTo>
                  <a:lnTo>
                    <a:pt x="295" y="386"/>
                  </a:lnTo>
                  <a:lnTo>
                    <a:pt x="298" y="386"/>
                  </a:lnTo>
                  <a:lnTo>
                    <a:pt x="301" y="386"/>
                  </a:lnTo>
                  <a:lnTo>
                    <a:pt x="298" y="386"/>
                  </a:lnTo>
                  <a:lnTo>
                    <a:pt x="295" y="383"/>
                  </a:lnTo>
                  <a:lnTo>
                    <a:pt x="298" y="380"/>
                  </a:lnTo>
                  <a:lnTo>
                    <a:pt x="307" y="377"/>
                  </a:lnTo>
                  <a:lnTo>
                    <a:pt x="313" y="374"/>
                  </a:lnTo>
                  <a:lnTo>
                    <a:pt x="319" y="371"/>
                  </a:lnTo>
                  <a:lnTo>
                    <a:pt x="322" y="368"/>
                  </a:lnTo>
                  <a:lnTo>
                    <a:pt x="327" y="360"/>
                  </a:lnTo>
                  <a:lnTo>
                    <a:pt x="330" y="351"/>
                  </a:lnTo>
                  <a:lnTo>
                    <a:pt x="330" y="345"/>
                  </a:lnTo>
                  <a:lnTo>
                    <a:pt x="327" y="342"/>
                  </a:lnTo>
                  <a:lnTo>
                    <a:pt x="322" y="336"/>
                  </a:lnTo>
                  <a:lnTo>
                    <a:pt x="310" y="330"/>
                  </a:lnTo>
                  <a:lnTo>
                    <a:pt x="304" y="330"/>
                  </a:lnTo>
                  <a:lnTo>
                    <a:pt x="304" y="327"/>
                  </a:lnTo>
                  <a:lnTo>
                    <a:pt x="307" y="321"/>
                  </a:lnTo>
                  <a:lnTo>
                    <a:pt x="310" y="315"/>
                  </a:lnTo>
                  <a:lnTo>
                    <a:pt x="304" y="312"/>
                  </a:lnTo>
                  <a:lnTo>
                    <a:pt x="295" y="309"/>
                  </a:lnTo>
                  <a:lnTo>
                    <a:pt x="289" y="306"/>
                  </a:lnTo>
                  <a:lnTo>
                    <a:pt x="286" y="301"/>
                  </a:lnTo>
                  <a:lnTo>
                    <a:pt x="280" y="301"/>
                  </a:lnTo>
                  <a:lnTo>
                    <a:pt x="274" y="303"/>
                  </a:lnTo>
                  <a:lnTo>
                    <a:pt x="265" y="306"/>
                  </a:lnTo>
                  <a:lnTo>
                    <a:pt x="262" y="309"/>
                  </a:lnTo>
                  <a:lnTo>
                    <a:pt x="257" y="312"/>
                  </a:lnTo>
                  <a:lnTo>
                    <a:pt x="254" y="309"/>
                  </a:lnTo>
                  <a:lnTo>
                    <a:pt x="254" y="306"/>
                  </a:lnTo>
                  <a:lnTo>
                    <a:pt x="257" y="301"/>
                  </a:lnTo>
                  <a:lnTo>
                    <a:pt x="257" y="298"/>
                  </a:lnTo>
                  <a:lnTo>
                    <a:pt x="260" y="292"/>
                  </a:lnTo>
                  <a:lnTo>
                    <a:pt x="257" y="289"/>
                  </a:lnTo>
                  <a:lnTo>
                    <a:pt x="257" y="283"/>
                  </a:lnTo>
                  <a:lnTo>
                    <a:pt x="254" y="280"/>
                  </a:lnTo>
                  <a:lnTo>
                    <a:pt x="257" y="277"/>
                  </a:lnTo>
                  <a:lnTo>
                    <a:pt x="257" y="274"/>
                  </a:lnTo>
                  <a:lnTo>
                    <a:pt x="262" y="271"/>
                  </a:lnTo>
                  <a:lnTo>
                    <a:pt x="262" y="268"/>
                  </a:lnTo>
                  <a:lnTo>
                    <a:pt x="257" y="265"/>
                  </a:lnTo>
                  <a:lnTo>
                    <a:pt x="254" y="268"/>
                  </a:lnTo>
                  <a:lnTo>
                    <a:pt x="251" y="271"/>
                  </a:lnTo>
                  <a:lnTo>
                    <a:pt x="245" y="274"/>
                  </a:lnTo>
                  <a:lnTo>
                    <a:pt x="239" y="274"/>
                  </a:lnTo>
                  <a:lnTo>
                    <a:pt x="233" y="274"/>
                  </a:lnTo>
                  <a:lnTo>
                    <a:pt x="227" y="280"/>
                  </a:lnTo>
                  <a:lnTo>
                    <a:pt x="224" y="277"/>
                  </a:lnTo>
                  <a:lnTo>
                    <a:pt x="224" y="274"/>
                  </a:lnTo>
                  <a:lnTo>
                    <a:pt x="218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09" y="277"/>
                  </a:lnTo>
                  <a:lnTo>
                    <a:pt x="209" y="280"/>
                  </a:lnTo>
                  <a:lnTo>
                    <a:pt x="206" y="286"/>
                  </a:lnTo>
                  <a:lnTo>
                    <a:pt x="203" y="289"/>
                  </a:lnTo>
                  <a:lnTo>
                    <a:pt x="198" y="289"/>
                  </a:lnTo>
                  <a:lnTo>
                    <a:pt x="195" y="289"/>
                  </a:lnTo>
                  <a:lnTo>
                    <a:pt x="192" y="286"/>
                  </a:lnTo>
                  <a:lnTo>
                    <a:pt x="189" y="289"/>
                  </a:lnTo>
                  <a:lnTo>
                    <a:pt x="186" y="292"/>
                  </a:lnTo>
                  <a:lnTo>
                    <a:pt x="189" y="295"/>
                  </a:lnTo>
                  <a:lnTo>
                    <a:pt x="189" y="298"/>
                  </a:lnTo>
                  <a:lnTo>
                    <a:pt x="183" y="301"/>
                  </a:lnTo>
                  <a:lnTo>
                    <a:pt x="177" y="303"/>
                  </a:lnTo>
                  <a:lnTo>
                    <a:pt x="168" y="306"/>
                  </a:lnTo>
                  <a:lnTo>
                    <a:pt x="168" y="309"/>
                  </a:lnTo>
                  <a:lnTo>
                    <a:pt x="165" y="315"/>
                  </a:lnTo>
                  <a:lnTo>
                    <a:pt x="162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56" y="303"/>
                  </a:lnTo>
                  <a:lnTo>
                    <a:pt x="153" y="303"/>
                  </a:lnTo>
                  <a:lnTo>
                    <a:pt x="147" y="306"/>
                  </a:lnTo>
                  <a:lnTo>
                    <a:pt x="144" y="306"/>
                  </a:lnTo>
                  <a:lnTo>
                    <a:pt x="141" y="309"/>
                  </a:lnTo>
                  <a:lnTo>
                    <a:pt x="136" y="309"/>
                  </a:lnTo>
                  <a:lnTo>
                    <a:pt x="136" y="303"/>
                  </a:lnTo>
                  <a:lnTo>
                    <a:pt x="133" y="301"/>
                  </a:lnTo>
                  <a:lnTo>
                    <a:pt x="124" y="298"/>
                  </a:lnTo>
                  <a:lnTo>
                    <a:pt x="118" y="298"/>
                  </a:lnTo>
                  <a:lnTo>
                    <a:pt x="112" y="301"/>
                  </a:lnTo>
                  <a:lnTo>
                    <a:pt x="106" y="301"/>
                  </a:lnTo>
                  <a:lnTo>
                    <a:pt x="100" y="301"/>
                  </a:lnTo>
                  <a:lnTo>
                    <a:pt x="94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77" y="298"/>
                  </a:lnTo>
                  <a:lnTo>
                    <a:pt x="65" y="301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1" y="309"/>
                  </a:lnTo>
                  <a:lnTo>
                    <a:pt x="35" y="315"/>
                  </a:lnTo>
                  <a:lnTo>
                    <a:pt x="29" y="321"/>
                  </a:lnTo>
                  <a:lnTo>
                    <a:pt x="26" y="333"/>
                  </a:lnTo>
                  <a:lnTo>
                    <a:pt x="26" y="336"/>
                  </a:lnTo>
                  <a:lnTo>
                    <a:pt x="32" y="345"/>
                  </a:lnTo>
                  <a:lnTo>
                    <a:pt x="35" y="348"/>
                  </a:lnTo>
                  <a:lnTo>
                    <a:pt x="35" y="354"/>
                  </a:lnTo>
                  <a:lnTo>
                    <a:pt x="29" y="357"/>
                  </a:lnTo>
                  <a:lnTo>
                    <a:pt x="23" y="363"/>
                  </a:lnTo>
                  <a:lnTo>
                    <a:pt x="20" y="368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20" y="357"/>
                  </a:lnTo>
                  <a:lnTo>
                    <a:pt x="18" y="357"/>
                  </a:lnTo>
                  <a:lnTo>
                    <a:pt x="20" y="357"/>
                  </a:lnTo>
                  <a:lnTo>
                    <a:pt x="20" y="354"/>
                  </a:lnTo>
                  <a:lnTo>
                    <a:pt x="23" y="354"/>
                  </a:lnTo>
                  <a:lnTo>
                    <a:pt x="20" y="354"/>
                  </a:lnTo>
                  <a:lnTo>
                    <a:pt x="20" y="351"/>
                  </a:lnTo>
                  <a:lnTo>
                    <a:pt x="20" y="348"/>
                  </a:lnTo>
                  <a:lnTo>
                    <a:pt x="20" y="345"/>
                  </a:lnTo>
                  <a:lnTo>
                    <a:pt x="20" y="342"/>
                  </a:lnTo>
                  <a:lnTo>
                    <a:pt x="18" y="339"/>
                  </a:lnTo>
                  <a:lnTo>
                    <a:pt x="18" y="336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8" y="321"/>
                  </a:lnTo>
                  <a:lnTo>
                    <a:pt x="18" y="318"/>
                  </a:lnTo>
                  <a:lnTo>
                    <a:pt x="20" y="312"/>
                  </a:lnTo>
                  <a:lnTo>
                    <a:pt x="18" y="312"/>
                  </a:lnTo>
                  <a:lnTo>
                    <a:pt x="15" y="312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12" y="303"/>
                  </a:lnTo>
                  <a:lnTo>
                    <a:pt x="9" y="303"/>
                  </a:lnTo>
                  <a:lnTo>
                    <a:pt x="9" y="301"/>
                  </a:lnTo>
                  <a:lnTo>
                    <a:pt x="9" y="298"/>
                  </a:lnTo>
                  <a:lnTo>
                    <a:pt x="6" y="295"/>
                  </a:lnTo>
                  <a:lnTo>
                    <a:pt x="9" y="292"/>
                  </a:lnTo>
                  <a:lnTo>
                    <a:pt x="3" y="2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Freeform 143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585745" y="1484144"/>
              <a:ext cx="29741" cy="39222"/>
            </a:xfrm>
            <a:custGeom>
              <a:avLst/>
              <a:gdLst>
                <a:gd name="T0" fmla="*/ 41 w 180"/>
                <a:gd name="T1" fmla="*/ 210 h 221"/>
                <a:gd name="T2" fmla="*/ 35 w 180"/>
                <a:gd name="T3" fmla="*/ 210 h 221"/>
                <a:gd name="T4" fmla="*/ 23 w 180"/>
                <a:gd name="T5" fmla="*/ 210 h 221"/>
                <a:gd name="T6" fmla="*/ 12 w 180"/>
                <a:gd name="T7" fmla="*/ 207 h 221"/>
                <a:gd name="T8" fmla="*/ 0 w 180"/>
                <a:gd name="T9" fmla="*/ 198 h 221"/>
                <a:gd name="T10" fmla="*/ 9 w 180"/>
                <a:gd name="T11" fmla="*/ 189 h 221"/>
                <a:gd name="T12" fmla="*/ 6 w 180"/>
                <a:gd name="T13" fmla="*/ 180 h 221"/>
                <a:gd name="T14" fmla="*/ 3 w 180"/>
                <a:gd name="T15" fmla="*/ 168 h 221"/>
                <a:gd name="T16" fmla="*/ 6 w 180"/>
                <a:gd name="T17" fmla="*/ 159 h 221"/>
                <a:gd name="T18" fmla="*/ 6 w 180"/>
                <a:gd name="T19" fmla="*/ 148 h 221"/>
                <a:gd name="T20" fmla="*/ 6 w 180"/>
                <a:gd name="T21" fmla="*/ 133 h 221"/>
                <a:gd name="T22" fmla="*/ 18 w 180"/>
                <a:gd name="T23" fmla="*/ 124 h 221"/>
                <a:gd name="T24" fmla="*/ 20 w 180"/>
                <a:gd name="T25" fmla="*/ 112 h 221"/>
                <a:gd name="T26" fmla="*/ 20 w 180"/>
                <a:gd name="T27" fmla="*/ 100 h 221"/>
                <a:gd name="T28" fmla="*/ 26 w 180"/>
                <a:gd name="T29" fmla="*/ 86 h 221"/>
                <a:gd name="T30" fmla="*/ 32 w 180"/>
                <a:gd name="T31" fmla="*/ 74 h 221"/>
                <a:gd name="T32" fmla="*/ 38 w 180"/>
                <a:gd name="T33" fmla="*/ 65 h 221"/>
                <a:gd name="T34" fmla="*/ 47 w 180"/>
                <a:gd name="T35" fmla="*/ 68 h 221"/>
                <a:gd name="T36" fmla="*/ 56 w 180"/>
                <a:gd name="T37" fmla="*/ 68 h 221"/>
                <a:gd name="T38" fmla="*/ 62 w 180"/>
                <a:gd name="T39" fmla="*/ 56 h 221"/>
                <a:gd name="T40" fmla="*/ 71 w 180"/>
                <a:gd name="T41" fmla="*/ 44 h 221"/>
                <a:gd name="T42" fmla="*/ 68 w 180"/>
                <a:gd name="T43" fmla="*/ 35 h 221"/>
                <a:gd name="T44" fmla="*/ 85 w 180"/>
                <a:gd name="T45" fmla="*/ 29 h 221"/>
                <a:gd name="T46" fmla="*/ 100 w 180"/>
                <a:gd name="T47" fmla="*/ 27 h 221"/>
                <a:gd name="T48" fmla="*/ 112 w 180"/>
                <a:gd name="T49" fmla="*/ 24 h 221"/>
                <a:gd name="T50" fmla="*/ 124 w 180"/>
                <a:gd name="T51" fmla="*/ 29 h 221"/>
                <a:gd name="T52" fmla="*/ 139 w 180"/>
                <a:gd name="T53" fmla="*/ 15 h 221"/>
                <a:gd name="T54" fmla="*/ 147 w 180"/>
                <a:gd name="T55" fmla="*/ 12 h 221"/>
                <a:gd name="T56" fmla="*/ 153 w 180"/>
                <a:gd name="T57" fmla="*/ 0 h 221"/>
                <a:gd name="T58" fmla="*/ 150 w 180"/>
                <a:gd name="T59" fmla="*/ 15 h 221"/>
                <a:gd name="T60" fmla="*/ 159 w 180"/>
                <a:gd name="T61" fmla="*/ 32 h 221"/>
                <a:gd name="T62" fmla="*/ 162 w 180"/>
                <a:gd name="T63" fmla="*/ 38 h 221"/>
                <a:gd name="T64" fmla="*/ 159 w 180"/>
                <a:gd name="T65" fmla="*/ 50 h 221"/>
                <a:gd name="T66" fmla="*/ 159 w 180"/>
                <a:gd name="T67" fmla="*/ 65 h 221"/>
                <a:gd name="T68" fmla="*/ 174 w 180"/>
                <a:gd name="T69" fmla="*/ 71 h 221"/>
                <a:gd name="T70" fmla="*/ 177 w 180"/>
                <a:gd name="T71" fmla="*/ 86 h 221"/>
                <a:gd name="T72" fmla="*/ 177 w 180"/>
                <a:gd name="T73" fmla="*/ 91 h 221"/>
                <a:gd name="T74" fmla="*/ 168 w 180"/>
                <a:gd name="T75" fmla="*/ 103 h 221"/>
                <a:gd name="T76" fmla="*/ 165 w 180"/>
                <a:gd name="T77" fmla="*/ 121 h 221"/>
                <a:gd name="T78" fmla="*/ 162 w 180"/>
                <a:gd name="T79" fmla="*/ 121 h 221"/>
                <a:gd name="T80" fmla="*/ 162 w 180"/>
                <a:gd name="T81" fmla="*/ 130 h 221"/>
                <a:gd name="T82" fmla="*/ 153 w 180"/>
                <a:gd name="T83" fmla="*/ 142 h 221"/>
                <a:gd name="T84" fmla="*/ 147 w 180"/>
                <a:gd name="T85" fmla="*/ 159 h 221"/>
                <a:gd name="T86" fmla="*/ 141 w 180"/>
                <a:gd name="T87" fmla="*/ 171 h 221"/>
                <a:gd name="T88" fmla="*/ 139 w 180"/>
                <a:gd name="T89" fmla="*/ 183 h 221"/>
                <a:gd name="T90" fmla="*/ 136 w 180"/>
                <a:gd name="T91" fmla="*/ 195 h 221"/>
                <a:gd name="T92" fmla="*/ 136 w 180"/>
                <a:gd name="T93" fmla="*/ 210 h 221"/>
                <a:gd name="T94" fmla="*/ 133 w 180"/>
                <a:gd name="T95" fmla="*/ 218 h 221"/>
                <a:gd name="T96" fmla="*/ 124 w 180"/>
                <a:gd name="T97" fmla="*/ 215 h 221"/>
                <a:gd name="T98" fmla="*/ 112 w 180"/>
                <a:gd name="T99" fmla="*/ 212 h 221"/>
                <a:gd name="T100" fmla="*/ 100 w 180"/>
                <a:gd name="T101" fmla="*/ 212 h 221"/>
                <a:gd name="T102" fmla="*/ 88 w 180"/>
                <a:gd name="T103" fmla="*/ 210 h 221"/>
                <a:gd name="T104" fmla="*/ 80 w 180"/>
                <a:gd name="T105" fmla="*/ 210 h 221"/>
                <a:gd name="T106" fmla="*/ 74 w 180"/>
                <a:gd name="T107" fmla="*/ 212 h 221"/>
                <a:gd name="T108" fmla="*/ 62 w 180"/>
                <a:gd name="T109" fmla="*/ 218 h 221"/>
                <a:gd name="T110" fmla="*/ 53 w 180"/>
                <a:gd name="T111" fmla="*/ 207 h 221"/>
                <a:gd name="T112" fmla="*/ 44 w 180"/>
                <a:gd name="T113" fmla="*/ 204 h 221"/>
                <a:gd name="T114" fmla="*/ 41 w 180"/>
                <a:gd name="T115" fmla="*/ 207 h 2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"/>
                <a:gd name="T175" fmla="*/ 0 h 221"/>
                <a:gd name="T176" fmla="*/ 180 w 180"/>
                <a:gd name="T177" fmla="*/ 221 h 2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" h="221">
                  <a:moveTo>
                    <a:pt x="41" y="207"/>
                  </a:moveTo>
                  <a:lnTo>
                    <a:pt x="41" y="210"/>
                  </a:lnTo>
                  <a:lnTo>
                    <a:pt x="38" y="212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23" y="210"/>
                  </a:lnTo>
                  <a:lnTo>
                    <a:pt x="18" y="207"/>
                  </a:lnTo>
                  <a:lnTo>
                    <a:pt x="12" y="207"/>
                  </a:lnTo>
                  <a:lnTo>
                    <a:pt x="6" y="204"/>
                  </a:lnTo>
                  <a:lnTo>
                    <a:pt x="0" y="198"/>
                  </a:lnTo>
                  <a:lnTo>
                    <a:pt x="3" y="195"/>
                  </a:lnTo>
                  <a:lnTo>
                    <a:pt x="9" y="189"/>
                  </a:lnTo>
                  <a:lnTo>
                    <a:pt x="9" y="183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6" y="159"/>
                  </a:lnTo>
                  <a:lnTo>
                    <a:pt x="9" y="153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3"/>
                  </a:lnTo>
                  <a:lnTo>
                    <a:pt x="9" y="127"/>
                  </a:lnTo>
                  <a:lnTo>
                    <a:pt x="18" y="124"/>
                  </a:lnTo>
                  <a:lnTo>
                    <a:pt x="20" y="121"/>
                  </a:lnTo>
                  <a:lnTo>
                    <a:pt x="20" y="112"/>
                  </a:lnTo>
                  <a:lnTo>
                    <a:pt x="20" y="106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6" y="86"/>
                  </a:lnTo>
                  <a:lnTo>
                    <a:pt x="29" y="80"/>
                  </a:lnTo>
                  <a:lnTo>
                    <a:pt x="32" y="74"/>
                  </a:lnTo>
                  <a:lnTo>
                    <a:pt x="35" y="68"/>
                  </a:lnTo>
                  <a:lnTo>
                    <a:pt x="38" y="65"/>
                  </a:lnTo>
                  <a:lnTo>
                    <a:pt x="44" y="65"/>
                  </a:lnTo>
                  <a:lnTo>
                    <a:pt x="47" y="68"/>
                  </a:lnTo>
                  <a:lnTo>
                    <a:pt x="53" y="71"/>
                  </a:lnTo>
                  <a:lnTo>
                    <a:pt x="56" y="68"/>
                  </a:lnTo>
                  <a:lnTo>
                    <a:pt x="59" y="62"/>
                  </a:lnTo>
                  <a:lnTo>
                    <a:pt x="62" y="56"/>
                  </a:lnTo>
                  <a:lnTo>
                    <a:pt x="68" y="50"/>
                  </a:lnTo>
                  <a:lnTo>
                    <a:pt x="71" y="44"/>
                  </a:lnTo>
                  <a:lnTo>
                    <a:pt x="68" y="41"/>
                  </a:lnTo>
                  <a:lnTo>
                    <a:pt x="68" y="35"/>
                  </a:lnTo>
                  <a:lnTo>
                    <a:pt x="74" y="32"/>
                  </a:lnTo>
                  <a:lnTo>
                    <a:pt x="85" y="29"/>
                  </a:lnTo>
                  <a:lnTo>
                    <a:pt x="94" y="27"/>
                  </a:lnTo>
                  <a:lnTo>
                    <a:pt x="100" y="27"/>
                  </a:lnTo>
                  <a:lnTo>
                    <a:pt x="109" y="27"/>
                  </a:lnTo>
                  <a:lnTo>
                    <a:pt x="112" y="24"/>
                  </a:lnTo>
                  <a:lnTo>
                    <a:pt x="115" y="27"/>
                  </a:lnTo>
                  <a:lnTo>
                    <a:pt x="124" y="29"/>
                  </a:lnTo>
                  <a:lnTo>
                    <a:pt x="136" y="21"/>
                  </a:lnTo>
                  <a:lnTo>
                    <a:pt x="139" y="15"/>
                  </a:lnTo>
                  <a:lnTo>
                    <a:pt x="141" y="12"/>
                  </a:lnTo>
                  <a:lnTo>
                    <a:pt x="147" y="12"/>
                  </a:lnTo>
                  <a:lnTo>
                    <a:pt x="150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0" y="15"/>
                  </a:lnTo>
                  <a:lnTo>
                    <a:pt x="150" y="24"/>
                  </a:lnTo>
                  <a:lnTo>
                    <a:pt x="159" y="32"/>
                  </a:lnTo>
                  <a:lnTo>
                    <a:pt x="162" y="35"/>
                  </a:lnTo>
                  <a:lnTo>
                    <a:pt x="162" y="38"/>
                  </a:lnTo>
                  <a:lnTo>
                    <a:pt x="159" y="44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9" y="65"/>
                  </a:lnTo>
                  <a:lnTo>
                    <a:pt x="165" y="68"/>
                  </a:lnTo>
                  <a:lnTo>
                    <a:pt x="174" y="71"/>
                  </a:lnTo>
                  <a:lnTo>
                    <a:pt x="180" y="74"/>
                  </a:lnTo>
                  <a:lnTo>
                    <a:pt x="177" y="86"/>
                  </a:lnTo>
                  <a:lnTo>
                    <a:pt x="177" y="89"/>
                  </a:lnTo>
                  <a:lnTo>
                    <a:pt x="177" y="91"/>
                  </a:lnTo>
                  <a:lnTo>
                    <a:pt x="174" y="97"/>
                  </a:lnTo>
                  <a:lnTo>
                    <a:pt x="168" y="103"/>
                  </a:lnTo>
                  <a:lnTo>
                    <a:pt x="168" y="109"/>
                  </a:lnTo>
                  <a:lnTo>
                    <a:pt x="165" y="121"/>
                  </a:lnTo>
                  <a:lnTo>
                    <a:pt x="165" y="118"/>
                  </a:lnTo>
                  <a:lnTo>
                    <a:pt x="162" y="121"/>
                  </a:lnTo>
                  <a:lnTo>
                    <a:pt x="162" y="124"/>
                  </a:lnTo>
                  <a:lnTo>
                    <a:pt x="162" y="130"/>
                  </a:lnTo>
                  <a:lnTo>
                    <a:pt x="159" y="136"/>
                  </a:lnTo>
                  <a:lnTo>
                    <a:pt x="153" y="142"/>
                  </a:lnTo>
                  <a:lnTo>
                    <a:pt x="150" y="145"/>
                  </a:lnTo>
                  <a:lnTo>
                    <a:pt x="147" y="159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1" y="177"/>
                  </a:lnTo>
                  <a:lnTo>
                    <a:pt x="139" y="183"/>
                  </a:lnTo>
                  <a:lnTo>
                    <a:pt x="139" y="189"/>
                  </a:lnTo>
                  <a:lnTo>
                    <a:pt x="136" y="195"/>
                  </a:lnTo>
                  <a:lnTo>
                    <a:pt x="136" y="201"/>
                  </a:lnTo>
                  <a:lnTo>
                    <a:pt x="136" y="210"/>
                  </a:lnTo>
                  <a:lnTo>
                    <a:pt x="133" y="215"/>
                  </a:lnTo>
                  <a:lnTo>
                    <a:pt x="133" y="218"/>
                  </a:lnTo>
                  <a:lnTo>
                    <a:pt x="130" y="221"/>
                  </a:lnTo>
                  <a:lnTo>
                    <a:pt x="124" y="215"/>
                  </a:lnTo>
                  <a:lnTo>
                    <a:pt x="121" y="215"/>
                  </a:lnTo>
                  <a:lnTo>
                    <a:pt x="112" y="212"/>
                  </a:lnTo>
                  <a:lnTo>
                    <a:pt x="106" y="210"/>
                  </a:lnTo>
                  <a:lnTo>
                    <a:pt x="100" y="212"/>
                  </a:lnTo>
                  <a:lnTo>
                    <a:pt x="94" y="215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65" y="218"/>
                  </a:lnTo>
                  <a:lnTo>
                    <a:pt x="62" y="218"/>
                  </a:lnTo>
                  <a:lnTo>
                    <a:pt x="56" y="212"/>
                  </a:lnTo>
                  <a:lnTo>
                    <a:pt x="53" y="207"/>
                  </a:lnTo>
                  <a:lnTo>
                    <a:pt x="50" y="204"/>
                  </a:lnTo>
                  <a:lnTo>
                    <a:pt x="44" y="204"/>
                  </a:lnTo>
                  <a:lnTo>
                    <a:pt x="41" y="204"/>
                  </a:lnTo>
                  <a:lnTo>
                    <a:pt x="41" y="20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Freeform 144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555509" y="1514492"/>
              <a:ext cx="19497" cy="32478"/>
            </a:xfrm>
            <a:custGeom>
              <a:avLst/>
              <a:gdLst>
                <a:gd name="T0" fmla="*/ 115 w 118"/>
                <a:gd name="T1" fmla="*/ 95 h 183"/>
                <a:gd name="T2" fmla="*/ 112 w 118"/>
                <a:gd name="T3" fmla="*/ 92 h 183"/>
                <a:gd name="T4" fmla="*/ 103 w 118"/>
                <a:gd name="T5" fmla="*/ 92 h 183"/>
                <a:gd name="T6" fmla="*/ 94 w 118"/>
                <a:gd name="T7" fmla="*/ 100 h 183"/>
                <a:gd name="T8" fmla="*/ 85 w 118"/>
                <a:gd name="T9" fmla="*/ 92 h 183"/>
                <a:gd name="T10" fmla="*/ 88 w 118"/>
                <a:gd name="T11" fmla="*/ 109 h 183"/>
                <a:gd name="T12" fmla="*/ 88 w 118"/>
                <a:gd name="T13" fmla="*/ 121 h 183"/>
                <a:gd name="T14" fmla="*/ 80 w 118"/>
                <a:gd name="T15" fmla="*/ 127 h 183"/>
                <a:gd name="T16" fmla="*/ 74 w 118"/>
                <a:gd name="T17" fmla="*/ 136 h 183"/>
                <a:gd name="T18" fmla="*/ 71 w 118"/>
                <a:gd name="T19" fmla="*/ 145 h 183"/>
                <a:gd name="T20" fmla="*/ 74 w 118"/>
                <a:gd name="T21" fmla="*/ 154 h 183"/>
                <a:gd name="T22" fmla="*/ 80 w 118"/>
                <a:gd name="T23" fmla="*/ 162 h 183"/>
                <a:gd name="T24" fmla="*/ 77 w 118"/>
                <a:gd name="T25" fmla="*/ 165 h 183"/>
                <a:gd name="T26" fmla="*/ 71 w 118"/>
                <a:gd name="T27" fmla="*/ 174 h 183"/>
                <a:gd name="T28" fmla="*/ 62 w 118"/>
                <a:gd name="T29" fmla="*/ 177 h 183"/>
                <a:gd name="T30" fmla="*/ 56 w 118"/>
                <a:gd name="T31" fmla="*/ 180 h 183"/>
                <a:gd name="T32" fmla="*/ 53 w 118"/>
                <a:gd name="T33" fmla="*/ 177 h 183"/>
                <a:gd name="T34" fmla="*/ 47 w 118"/>
                <a:gd name="T35" fmla="*/ 159 h 183"/>
                <a:gd name="T36" fmla="*/ 41 w 118"/>
                <a:gd name="T37" fmla="*/ 154 h 183"/>
                <a:gd name="T38" fmla="*/ 35 w 118"/>
                <a:gd name="T39" fmla="*/ 148 h 183"/>
                <a:gd name="T40" fmla="*/ 32 w 118"/>
                <a:gd name="T41" fmla="*/ 157 h 183"/>
                <a:gd name="T42" fmla="*/ 38 w 118"/>
                <a:gd name="T43" fmla="*/ 171 h 183"/>
                <a:gd name="T44" fmla="*/ 26 w 118"/>
                <a:gd name="T45" fmla="*/ 168 h 183"/>
                <a:gd name="T46" fmla="*/ 23 w 118"/>
                <a:gd name="T47" fmla="*/ 154 h 183"/>
                <a:gd name="T48" fmla="*/ 18 w 118"/>
                <a:gd name="T49" fmla="*/ 145 h 183"/>
                <a:gd name="T50" fmla="*/ 15 w 118"/>
                <a:gd name="T51" fmla="*/ 139 h 183"/>
                <a:gd name="T52" fmla="*/ 12 w 118"/>
                <a:gd name="T53" fmla="*/ 127 h 183"/>
                <a:gd name="T54" fmla="*/ 6 w 118"/>
                <a:gd name="T55" fmla="*/ 121 h 183"/>
                <a:gd name="T56" fmla="*/ 0 w 118"/>
                <a:gd name="T57" fmla="*/ 115 h 183"/>
                <a:gd name="T58" fmla="*/ 3 w 118"/>
                <a:gd name="T59" fmla="*/ 109 h 183"/>
                <a:gd name="T60" fmla="*/ 3 w 118"/>
                <a:gd name="T61" fmla="*/ 103 h 183"/>
                <a:gd name="T62" fmla="*/ 0 w 118"/>
                <a:gd name="T63" fmla="*/ 100 h 183"/>
                <a:gd name="T64" fmla="*/ 6 w 118"/>
                <a:gd name="T65" fmla="*/ 95 h 183"/>
                <a:gd name="T66" fmla="*/ 9 w 118"/>
                <a:gd name="T67" fmla="*/ 86 h 183"/>
                <a:gd name="T68" fmla="*/ 9 w 118"/>
                <a:gd name="T69" fmla="*/ 77 h 183"/>
                <a:gd name="T70" fmla="*/ 15 w 118"/>
                <a:gd name="T71" fmla="*/ 71 h 183"/>
                <a:gd name="T72" fmla="*/ 21 w 118"/>
                <a:gd name="T73" fmla="*/ 65 h 183"/>
                <a:gd name="T74" fmla="*/ 21 w 118"/>
                <a:gd name="T75" fmla="*/ 56 h 183"/>
                <a:gd name="T76" fmla="*/ 35 w 118"/>
                <a:gd name="T77" fmla="*/ 59 h 183"/>
                <a:gd name="T78" fmla="*/ 44 w 118"/>
                <a:gd name="T79" fmla="*/ 53 h 183"/>
                <a:gd name="T80" fmla="*/ 47 w 118"/>
                <a:gd name="T81" fmla="*/ 41 h 183"/>
                <a:gd name="T82" fmla="*/ 50 w 118"/>
                <a:gd name="T83" fmla="*/ 44 h 183"/>
                <a:gd name="T84" fmla="*/ 59 w 118"/>
                <a:gd name="T85" fmla="*/ 41 h 183"/>
                <a:gd name="T86" fmla="*/ 65 w 118"/>
                <a:gd name="T87" fmla="*/ 39 h 183"/>
                <a:gd name="T88" fmla="*/ 71 w 118"/>
                <a:gd name="T89" fmla="*/ 44 h 183"/>
                <a:gd name="T90" fmla="*/ 77 w 118"/>
                <a:gd name="T91" fmla="*/ 41 h 183"/>
                <a:gd name="T92" fmla="*/ 74 w 118"/>
                <a:gd name="T93" fmla="*/ 27 h 183"/>
                <a:gd name="T94" fmla="*/ 80 w 118"/>
                <a:gd name="T95" fmla="*/ 24 h 183"/>
                <a:gd name="T96" fmla="*/ 80 w 118"/>
                <a:gd name="T97" fmla="*/ 21 h 183"/>
                <a:gd name="T98" fmla="*/ 88 w 118"/>
                <a:gd name="T99" fmla="*/ 18 h 183"/>
                <a:gd name="T100" fmla="*/ 100 w 118"/>
                <a:gd name="T101" fmla="*/ 12 h 183"/>
                <a:gd name="T102" fmla="*/ 100 w 118"/>
                <a:gd name="T103" fmla="*/ 0 h 183"/>
                <a:gd name="T104" fmla="*/ 106 w 118"/>
                <a:gd name="T105" fmla="*/ 15 h 183"/>
                <a:gd name="T106" fmla="*/ 112 w 118"/>
                <a:gd name="T107" fmla="*/ 30 h 183"/>
                <a:gd name="T108" fmla="*/ 118 w 118"/>
                <a:gd name="T109" fmla="*/ 62 h 183"/>
                <a:gd name="T110" fmla="*/ 118 w 118"/>
                <a:gd name="T111" fmla="*/ 89 h 1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8"/>
                <a:gd name="T169" fmla="*/ 0 h 183"/>
                <a:gd name="T170" fmla="*/ 118 w 118"/>
                <a:gd name="T171" fmla="*/ 183 h 1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8" h="183">
                  <a:moveTo>
                    <a:pt x="118" y="89"/>
                  </a:moveTo>
                  <a:lnTo>
                    <a:pt x="115" y="89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2"/>
                  </a:lnTo>
                  <a:lnTo>
                    <a:pt x="109" y="89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0" y="95"/>
                  </a:lnTo>
                  <a:lnTo>
                    <a:pt x="97" y="98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5" y="106"/>
                  </a:lnTo>
                  <a:lnTo>
                    <a:pt x="88" y="109"/>
                  </a:lnTo>
                  <a:lnTo>
                    <a:pt x="88" y="112"/>
                  </a:lnTo>
                  <a:lnTo>
                    <a:pt x="88" y="115"/>
                  </a:lnTo>
                  <a:lnTo>
                    <a:pt x="88" y="118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5" y="124"/>
                  </a:lnTo>
                  <a:lnTo>
                    <a:pt x="82" y="124"/>
                  </a:lnTo>
                  <a:lnTo>
                    <a:pt x="80" y="127"/>
                  </a:lnTo>
                  <a:lnTo>
                    <a:pt x="77" y="127"/>
                  </a:lnTo>
                  <a:lnTo>
                    <a:pt x="77" y="130"/>
                  </a:lnTo>
                  <a:lnTo>
                    <a:pt x="77" y="133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39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8"/>
                  </a:lnTo>
                  <a:lnTo>
                    <a:pt x="74" y="148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7" y="162"/>
                  </a:lnTo>
                  <a:lnTo>
                    <a:pt x="80" y="162"/>
                  </a:lnTo>
                  <a:lnTo>
                    <a:pt x="80" y="165"/>
                  </a:lnTo>
                  <a:lnTo>
                    <a:pt x="77" y="165"/>
                  </a:lnTo>
                  <a:lnTo>
                    <a:pt x="77" y="168"/>
                  </a:lnTo>
                  <a:lnTo>
                    <a:pt x="77" y="165"/>
                  </a:lnTo>
                  <a:lnTo>
                    <a:pt x="74" y="165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1" y="174"/>
                  </a:lnTo>
                  <a:lnTo>
                    <a:pt x="68" y="177"/>
                  </a:lnTo>
                  <a:lnTo>
                    <a:pt x="65" y="177"/>
                  </a:lnTo>
                  <a:lnTo>
                    <a:pt x="62" y="180"/>
                  </a:lnTo>
                  <a:lnTo>
                    <a:pt x="62" y="177"/>
                  </a:lnTo>
                  <a:lnTo>
                    <a:pt x="59" y="180"/>
                  </a:lnTo>
                  <a:lnTo>
                    <a:pt x="59" y="183"/>
                  </a:lnTo>
                  <a:lnTo>
                    <a:pt x="56" y="183"/>
                  </a:lnTo>
                  <a:lnTo>
                    <a:pt x="56" y="180"/>
                  </a:lnTo>
                  <a:lnTo>
                    <a:pt x="59" y="180"/>
                  </a:lnTo>
                  <a:lnTo>
                    <a:pt x="56" y="180"/>
                  </a:lnTo>
                  <a:lnTo>
                    <a:pt x="53" y="180"/>
                  </a:lnTo>
                  <a:lnTo>
                    <a:pt x="53" y="177"/>
                  </a:lnTo>
                  <a:lnTo>
                    <a:pt x="50" y="171"/>
                  </a:lnTo>
                  <a:lnTo>
                    <a:pt x="47" y="165"/>
                  </a:lnTo>
                  <a:lnTo>
                    <a:pt x="47" y="162"/>
                  </a:lnTo>
                  <a:lnTo>
                    <a:pt x="47" y="159"/>
                  </a:lnTo>
                  <a:lnTo>
                    <a:pt x="44" y="159"/>
                  </a:lnTo>
                  <a:lnTo>
                    <a:pt x="44" y="157"/>
                  </a:lnTo>
                  <a:lnTo>
                    <a:pt x="41" y="157"/>
                  </a:lnTo>
                  <a:lnTo>
                    <a:pt x="41" y="154"/>
                  </a:lnTo>
                  <a:lnTo>
                    <a:pt x="38" y="154"/>
                  </a:lnTo>
                  <a:lnTo>
                    <a:pt x="41" y="151"/>
                  </a:lnTo>
                  <a:lnTo>
                    <a:pt x="38" y="148"/>
                  </a:lnTo>
                  <a:lnTo>
                    <a:pt x="35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4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5" y="165"/>
                  </a:lnTo>
                  <a:lnTo>
                    <a:pt x="35" y="168"/>
                  </a:lnTo>
                  <a:lnTo>
                    <a:pt x="38" y="171"/>
                  </a:lnTo>
                  <a:lnTo>
                    <a:pt x="35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3" y="162"/>
                  </a:lnTo>
                  <a:lnTo>
                    <a:pt x="23" y="159"/>
                  </a:lnTo>
                  <a:lnTo>
                    <a:pt x="23" y="154"/>
                  </a:lnTo>
                  <a:lnTo>
                    <a:pt x="21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18" y="145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8" y="139"/>
                  </a:lnTo>
                  <a:lnTo>
                    <a:pt x="15" y="139"/>
                  </a:lnTo>
                  <a:lnTo>
                    <a:pt x="15" y="136"/>
                  </a:lnTo>
                  <a:lnTo>
                    <a:pt x="15" y="133"/>
                  </a:lnTo>
                  <a:lnTo>
                    <a:pt x="12" y="133"/>
                  </a:lnTo>
                  <a:lnTo>
                    <a:pt x="12" y="127"/>
                  </a:lnTo>
                  <a:lnTo>
                    <a:pt x="9" y="127"/>
                  </a:lnTo>
                  <a:lnTo>
                    <a:pt x="9" y="124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3" y="118"/>
                  </a:lnTo>
                  <a:lnTo>
                    <a:pt x="3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6" y="106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6" y="89"/>
                  </a:lnTo>
                  <a:lnTo>
                    <a:pt x="9" y="89"/>
                  </a:lnTo>
                  <a:lnTo>
                    <a:pt x="9" y="86"/>
                  </a:lnTo>
                  <a:lnTo>
                    <a:pt x="6" y="86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5" y="71"/>
                  </a:lnTo>
                  <a:lnTo>
                    <a:pt x="18" y="71"/>
                  </a:lnTo>
                  <a:lnTo>
                    <a:pt x="21" y="71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6"/>
                  </a:lnTo>
                  <a:lnTo>
                    <a:pt x="35" y="59"/>
                  </a:lnTo>
                  <a:lnTo>
                    <a:pt x="38" y="59"/>
                  </a:lnTo>
                  <a:lnTo>
                    <a:pt x="41" y="56"/>
                  </a:lnTo>
                  <a:lnTo>
                    <a:pt x="44" y="56"/>
                  </a:lnTo>
                  <a:lnTo>
                    <a:pt x="44" y="53"/>
                  </a:lnTo>
                  <a:lnTo>
                    <a:pt x="47" y="53"/>
                  </a:lnTo>
                  <a:lnTo>
                    <a:pt x="47" y="47"/>
                  </a:lnTo>
                  <a:lnTo>
                    <a:pt x="47" y="44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50" y="39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44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1" y="47"/>
                  </a:lnTo>
                  <a:lnTo>
                    <a:pt x="74" y="47"/>
                  </a:lnTo>
                  <a:lnTo>
                    <a:pt x="77" y="44"/>
                  </a:lnTo>
                  <a:lnTo>
                    <a:pt x="77" y="41"/>
                  </a:lnTo>
                  <a:lnTo>
                    <a:pt x="77" y="39"/>
                  </a:lnTo>
                  <a:lnTo>
                    <a:pt x="77" y="33"/>
                  </a:lnTo>
                  <a:lnTo>
                    <a:pt x="77" y="27"/>
                  </a:lnTo>
                  <a:lnTo>
                    <a:pt x="74" y="27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80" y="24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5" y="18"/>
                  </a:lnTo>
                  <a:lnTo>
                    <a:pt x="88" y="18"/>
                  </a:lnTo>
                  <a:lnTo>
                    <a:pt x="91" y="18"/>
                  </a:lnTo>
                  <a:lnTo>
                    <a:pt x="94" y="15"/>
                  </a:lnTo>
                  <a:lnTo>
                    <a:pt x="97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6" y="3"/>
                  </a:lnTo>
                  <a:lnTo>
                    <a:pt x="106" y="6"/>
                  </a:lnTo>
                  <a:lnTo>
                    <a:pt x="106" y="15"/>
                  </a:lnTo>
                  <a:lnTo>
                    <a:pt x="106" y="18"/>
                  </a:lnTo>
                  <a:lnTo>
                    <a:pt x="109" y="24"/>
                  </a:lnTo>
                  <a:lnTo>
                    <a:pt x="112" y="27"/>
                  </a:lnTo>
                  <a:lnTo>
                    <a:pt x="112" y="30"/>
                  </a:lnTo>
                  <a:lnTo>
                    <a:pt x="115" y="39"/>
                  </a:lnTo>
                  <a:lnTo>
                    <a:pt x="115" y="47"/>
                  </a:lnTo>
                  <a:lnTo>
                    <a:pt x="115" y="53"/>
                  </a:lnTo>
                  <a:lnTo>
                    <a:pt x="118" y="62"/>
                  </a:lnTo>
                  <a:lnTo>
                    <a:pt x="118" y="68"/>
                  </a:lnTo>
                  <a:lnTo>
                    <a:pt x="115" y="74"/>
                  </a:lnTo>
                  <a:lnTo>
                    <a:pt x="115" y="80"/>
                  </a:lnTo>
                  <a:lnTo>
                    <a:pt x="118" y="8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Freeform 145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8574014" y="1513427"/>
              <a:ext cx="21479" cy="49870"/>
            </a:xfrm>
            <a:custGeom>
              <a:avLst/>
              <a:gdLst>
                <a:gd name="T0" fmla="*/ 6 w 130"/>
                <a:gd name="T1" fmla="*/ 74 h 281"/>
                <a:gd name="T2" fmla="*/ 3 w 130"/>
                <a:gd name="T3" fmla="*/ 45 h 281"/>
                <a:gd name="T4" fmla="*/ 12 w 130"/>
                <a:gd name="T5" fmla="*/ 30 h 281"/>
                <a:gd name="T6" fmla="*/ 18 w 130"/>
                <a:gd name="T7" fmla="*/ 42 h 281"/>
                <a:gd name="T8" fmla="*/ 35 w 130"/>
                <a:gd name="T9" fmla="*/ 18 h 281"/>
                <a:gd name="T10" fmla="*/ 56 w 130"/>
                <a:gd name="T11" fmla="*/ 6 h 281"/>
                <a:gd name="T12" fmla="*/ 74 w 130"/>
                <a:gd name="T13" fmla="*/ 3 h 281"/>
                <a:gd name="T14" fmla="*/ 80 w 130"/>
                <a:gd name="T15" fmla="*/ 24 h 281"/>
                <a:gd name="T16" fmla="*/ 83 w 130"/>
                <a:gd name="T17" fmla="*/ 42 h 281"/>
                <a:gd name="T18" fmla="*/ 106 w 130"/>
                <a:gd name="T19" fmla="*/ 45 h 281"/>
                <a:gd name="T20" fmla="*/ 112 w 130"/>
                <a:gd name="T21" fmla="*/ 45 h 281"/>
                <a:gd name="T22" fmla="*/ 121 w 130"/>
                <a:gd name="T23" fmla="*/ 71 h 281"/>
                <a:gd name="T24" fmla="*/ 130 w 130"/>
                <a:gd name="T25" fmla="*/ 95 h 281"/>
                <a:gd name="T26" fmla="*/ 130 w 130"/>
                <a:gd name="T27" fmla="*/ 139 h 281"/>
                <a:gd name="T28" fmla="*/ 118 w 130"/>
                <a:gd name="T29" fmla="*/ 160 h 281"/>
                <a:gd name="T30" fmla="*/ 106 w 130"/>
                <a:gd name="T31" fmla="*/ 157 h 281"/>
                <a:gd name="T32" fmla="*/ 109 w 130"/>
                <a:gd name="T33" fmla="*/ 174 h 281"/>
                <a:gd name="T34" fmla="*/ 112 w 130"/>
                <a:gd name="T35" fmla="*/ 192 h 281"/>
                <a:gd name="T36" fmla="*/ 115 w 130"/>
                <a:gd name="T37" fmla="*/ 213 h 281"/>
                <a:gd name="T38" fmla="*/ 124 w 130"/>
                <a:gd name="T39" fmla="*/ 233 h 281"/>
                <a:gd name="T40" fmla="*/ 121 w 130"/>
                <a:gd name="T41" fmla="*/ 251 h 281"/>
                <a:gd name="T42" fmla="*/ 112 w 130"/>
                <a:gd name="T43" fmla="*/ 257 h 281"/>
                <a:gd name="T44" fmla="*/ 106 w 130"/>
                <a:gd name="T45" fmla="*/ 275 h 281"/>
                <a:gd name="T46" fmla="*/ 77 w 130"/>
                <a:gd name="T47" fmla="*/ 263 h 281"/>
                <a:gd name="T48" fmla="*/ 68 w 130"/>
                <a:gd name="T49" fmla="*/ 281 h 281"/>
                <a:gd name="T50" fmla="*/ 62 w 130"/>
                <a:gd name="T51" fmla="*/ 272 h 281"/>
                <a:gd name="T52" fmla="*/ 62 w 130"/>
                <a:gd name="T53" fmla="*/ 266 h 281"/>
                <a:gd name="T54" fmla="*/ 62 w 130"/>
                <a:gd name="T55" fmla="*/ 257 h 281"/>
                <a:gd name="T56" fmla="*/ 59 w 130"/>
                <a:gd name="T57" fmla="*/ 245 h 281"/>
                <a:gd name="T58" fmla="*/ 53 w 130"/>
                <a:gd name="T59" fmla="*/ 233 h 281"/>
                <a:gd name="T60" fmla="*/ 53 w 130"/>
                <a:gd name="T61" fmla="*/ 222 h 281"/>
                <a:gd name="T62" fmla="*/ 50 w 130"/>
                <a:gd name="T63" fmla="*/ 213 h 281"/>
                <a:gd name="T64" fmla="*/ 47 w 130"/>
                <a:gd name="T65" fmla="*/ 210 h 281"/>
                <a:gd name="T66" fmla="*/ 47 w 130"/>
                <a:gd name="T67" fmla="*/ 201 h 281"/>
                <a:gd name="T68" fmla="*/ 41 w 130"/>
                <a:gd name="T69" fmla="*/ 195 h 281"/>
                <a:gd name="T70" fmla="*/ 35 w 130"/>
                <a:gd name="T71" fmla="*/ 186 h 281"/>
                <a:gd name="T72" fmla="*/ 30 w 130"/>
                <a:gd name="T73" fmla="*/ 180 h 281"/>
                <a:gd name="T74" fmla="*/ 30 w 130"/>
                <a:gd name="T75" fmla="*/ 174 h 281"/>
                <a:gd name="T76" fmla="*/ 30 w 130"/>
                <a:gd name="T77" fmla="*/ 165 h 281"/>
                <a:gd name="T78" fmla="*/ 24 w 130"/>
                <a:gd name="T79" fmla="*/ 160 h 281"/>
                <a:gd name="T80" fmla="*/ 24 w 130"/>
                <a:gd name="T81" fmla="*/ 151 h 281"/>
                <a:gd name="T82" fmla="*/ 24 w 130"/>
                <a:gd name="T83" fmla="*/ 142 h 281"/>
                <a:gd name="T84" fmla="*/ 24 w 130"/>
                <a:gd name="T85" fmla="*/ 136 h 281"/>
                <a:gd name="T86" fmla="*/ 21 w 130"/>
                <a:gd name="T87" fmla="*/ 127 h 281"/>
                <a:gd name="T88" fmla="*/ 18 w 130"/>
                <a:gd name="T89" fmla="*/ 124 h 281"/>
                <a:gd name="T90" fmla="*/ 15 w 130"/>
                <a:gd name="T91" fmla="*/ 115 h 281"/>
                <a:gd name="T92" fmla="*/ 9 w 130"/>
                <a:gd name="T93" fmla="*/ 109 h 281"/>
                <a:gd name="T94" fmla="*/ 9 w 130"/>
                <a:gd name="T95" fmla="*/ 98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0"/>
                <a:gd name="T145" fmla="*/ 0 h 281"/>
                <a:gd name="T146" fmla="*/ 130 w 130"/>
                <a:gd name="T147" fmla="*/ 281 h 28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0" h="281">
                  <a:moveTo>
                    <a:pt x="6" y="95"/>
                  </a:moveTo>
                  <a:lnTo>
                    <a:pt x="3" y="86"/>
                  </a:lnTo>
                  <a:lnTo>
                    <a:pt x="3" y="80"/>
                  </a:lnTo>
                  <a:lnTo>
                    <a:pt x="6" y="74"/>
                  </a:lnTo>
                  <a:lnTo>
                    <a:pt x="6" y="68"/>
                  </a:lnTo>
                  <a:lnTo>
                    <a:pt x="3" y="59"/>
                  </a:lnTo>
                  <a:lnTo>
                    <a:pt x="3" y="53"/>
                  </a:lnTo>
                  <a:lnTo>
                    <a:pt x="3" y="45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32" y="27"/>
                  </a:lnTo>
                  <a:lnTo>
                    <a:pt x="35" y="18"/>
                  </a:lnTo>
                  <a:lnTo>
                    <a:pt x="38" y="15"/>
                  </a:lnTo>
                  <a:lnTo>
                    <a:pt x="44" y="0"/>
                  </a:lnTo>
                  <a:lnTo>
                    <a:pt x="53" y="0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62" y="6"/>
                  </a:lnTo>
                  <a:lnTo>
                    <a:pt x="68" y="6"/>
                  </a:lnTo>
                  <a:lnTo>
                    <a:pt x="74" y="3"/>
                  </a:lnTo>
                  <a:lnTo>
                    <a:pt x="77" y="9"/>
                  </a:lnTo>
                  <a:lnTo>
                    <a:pt x="77" y="15"/>
                  </a:lnTo>
                  <a:lnTo>
                    <a:pt x="80" y="18"/>
                  </a:lnTo>
                  <a:lnTo>
                    <a:pt x="80" y="24"/>
                  </a:lnTo>
                  <a:lnTo>
                    <a:pt x="74" y="30"/>
                  </a:lnTo>
                  <a:lnTo>
                    <a:pt x="71" y="33"/>
                  </a:lnTo>
                  <a:lnTo>
                    <a:pt x="77" y="39"/>
                  </a:lnTo>
                  <a:lnTo>
                    <a:pt x="83" y="42"/>
                  </a:lnTo>
                  <a:lnTo>
                    <a:pt x="89" y="42"/>
                  </a:lnTo>
                  <a:lnTo>
                    <a:pt x="94" y="45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9" y="47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5"/>
                  </a:lnTo>
                  <a:lnTo>
                    <a:pt x="115" y="50"/>
                  </a:lnTo>
                  <a:lnTo>
                    <a:pt x="118" y="56"/>
                  </a:lnTo>
                  <a:lnTo>
                    <a:pt x="121" y="65"/>
                  </a:lnTo>
                  <a:lnTo>
                    <a:pt x="121" y="71"/>
                  </a:lnTo>
                  <a:lnTo>
                    <a:pt x="124" y="74"/>
                  </a:lnTo>
                  <a:lnTo>
                    <a:pt x="127" y="80"/>
                  </a:lnTo>
                  <a:lnTo>
                    <a:pt x="130" y="89"/>
                  </a:lnTo>
                  <a:lnTo>
                    <a:pt x="130" y="95"/>
                  </a:lnTo>
                  <a:lnTo>
                    <a:pt x="127" y="109"/>
                  </a:lnTo>
                  <a:lnTo>
                    <a:pt x="127" y="118"/>
                  </a:lnTo>
                  <a:lnTo>
                    <a:pt x="127" y="133"/>
                  </a:lnTo>
                  <a:lnTo>
                    <a:pt x="130" y="139"/>
                  </a:lnTo>
                  <a:lnTo>
                    <a:pt x="130" y="148"/>
                  </a:lnTo>
                  <a:lnTo>
                    <a:pt x="130" y="154"/>
                  </a:lnTo>
                  <a:lnTo>
                    <a:pt x="124" y="160"/>
                  </a:lnTo>
                  <a:lnTo>
                    <a:pt x="118" y="160"/>
                  </a:lnTo>
                  <a:lnTo>
                    <a:pt x="115" y="154"/>
                  </a:lnTo>
                  <a:lnTo>
                    <a:pt x="112" y="154"/>
                  </a:lnTo>
                  <a:lnTo>
                    <a:pt x="103" y="157"/>
                  </a:lnTo>
                  <a:lnTo>
                    <a:pt x="106" y="157"/>
                  </a:lnTo>
                  <a:lnTo>
                    <a:pt x="109" y="163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09" y="174"/>
                  </a:lnTo>
                  <a:lnTo>
                    <a:pt x="109" y="177"/>
                  </a:lnTo>
                  <a:lnTo>
                    <a:pt x="106" y="180"/>
                  </a:lnTo>
                  <a:lnTo>
                    <a:pt x="109" y="186"/>
                  </a:lnTo>
                  <a:lnTo>
                    <a:pt x="112" y="192"/>
                  </a:lnTo>
                  <a:lnTo>
                    <a:pt x="109" y="195"/>
                  </a:lnTo>
                  <a:lnTo>
                    <a:pt x="112" y="201"/>
                  </a:lnTo>
                  <a:lnTo>
                    <a:pt x="115" y="207"/>
                  </a:lnTo>
                  <a:lnTo>
                    <a:pt x="115" y="213"/>
                  </a:lnTo>
                  <a:lnTo>
                    <a:pt x="115" y="216"/>
                  </a:lnTo>
                  <a:lnTo>
                    <a:pt x="121" y="222"/>
                  </a:lnTo>
                  <a:lnTo>
                    <a:pt x="124" y="225"/>
                  </a:lnTo>
                  <a:lnTo>
                    <a:pt x="124" y="233"/>
                  </a:lnTo>
                  <a:lnTo>
                    <a:pt x="127" y="239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21" y="251"/>
                  </a:lnTo>
                  <a:lnTo>
                    <a:pt x="115" y="251"/>
                  </a:lnTo>
                  <a:lnTo>
                    <a:pt x="109" y="251"/>
                  </a:lnTo>
                  <a:lnTo>
                    <a:pt x="109" y="254"/>
                  </a:lnTo>
                  <a:lnTo>
                    <a:pt x="112" y="257"/>
                  </a:lnTo>
                  <a:lnTo>
                    <a:pt x="115" y="263"/>
                  </a:lnTo>
                  <a:lnTo>
                    <a:pt x="106" y="263"/>
                  </a:lnTo>
                  <a:lnTo>
                    <a:pt x="103" y="266"/>
                  </a:lnTo>
                  <a:lnTo>
                    <a:pt x="106" y="275"/>
                  </a:lnTo>
                  <a:lnTo>
                    <a:pt x="103" y="275"/>
                  </a:lnTo>
                  <a:lnTo>
                    <a:pt x="100" y="272"/>
                  </a:lnTo>
                  <a:lnTo>
                    <a:pt x="83" y="269"/>
                  </a:lnTo>
                  <a:lnTo>
                    <a:pt x="77" y="263"/>
                  </a:lnTo>
                  <a:lnTo>
                    <a:pt x="71" y="260"/>
                  </a:lnTo>
                  <a:lnTo>
                    <a:pt x="71" y="272"/>
                  </a:lnTo>
                  <a:lnTo>
                    <a:pt x="71" y="275"/>
                  </a:lnTo>
                  <a:lnTo>
                    <a:pt x="68" y="281"/>
                  </a:lnTo>
                  <a:lnTo>
                    <a:pt x="65" y="281"/>
                  </a:lnTo>
                  <a:lnTo>
                    <a:pt x="65" y="278"/>
                  </a:lnTo>
                  <a:lnTo>
                    <a:pt x="65" y="275"/>
                  </a:lnTo>
                  <a:lnTo>
                    <a:pt x="62" y="272"/>
                  </a:lnTo>
                  <a:lnTo>
                    <a:pt x="62" y="269"/>
                  </a:lnTo>
                  <a:lnTo>
                    <a:pt x="59" y="269"/>
                  </a:lnTo>
                  <a:lnTo>
                    <a:pt x="59" y="266"/>
                  </a:lnTo>
                  <a:lnTo>
                    <a:pt x="62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2" y="260"/>
                  </a:lnTo>
                  <a:lnTo>
                    <a:pt x="62" y="257"/>
                  </a:lnTo>
                  <a:lnTo>
                    <a:pt x="62" y="254"/>
                  </a:lnTo>
                  <a:lnTo>
                    <a:pt x="59" y="251"/>
                  </a:lnTo>
                  <a:lnTo>
                    <a:pt x="59" y="248"/>
                  </a:lnTo>
                  <a:lnTo>
                    <a:pt x="59" y="245"/>
                  </a:lnTo>
                  <a:lnTo>
                    <a:pt x="59" y="242"/>
                  </a:lnTo>
                  <a:lnTo>
                    <a:pt x="56" y="239"/>
                  </a:lnTo>
                  <a:lnTo>
                    <a:pt x="56" y="233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0" y="222"/>
                  </a:lnTo>
                  <a:lnTo>
                    <a:pt x="50" y="219"/>
                  </a:lnTo>
                  <a:lnTo>
                    <a:pt x="50" y="216"/>
                  </a:lnTo>
                  <a:lnTo>
                    <a:pt x="50" y="213"/>
                  </a:lnTo>
                  <a:lnTo>
                    <a:pt x="47" y="213"/>
                  </a:lnTo>
                  <a:lnTo>
                    <a:pt x="50" y="213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50" y="210"/>
                  </a:lnTo>
                  <a:lnTo>
                    <a:pt x="47" y="210"/>
                  </a:lnTo>
                  <a:lnTo>
                    <a:pt x="47" y="204"/>
                  </a:lnTo>
                  <a:lnTo>
                    <a:pt x="47" y="201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41" y="195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6"/>
                  </a:lnTo>
                  <a:lnTo>
                    <a:pt x="35" y="186"/>
                  </a:lnTo>
                  <a:lnTo>
                    <a:pt x="35" y="183"/>
                  </a:lnTo>
                  <a:lnTo>
                    <a:pt x="32" y="183"/>
                  </a:lnTo>
                  <a:lnTo>
                    <a:pt x="30" y="183"/>
                  </a:lnTo>
                  <a:lnTo>
                    <a:pt x="30" y="180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7" y="174"/>
                  </a:lnTo>
                  <a:lnTo>
                    <a:pt x="30" y="174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30" y="168"/>
                  </a:lnTo>
                  <a:lnTo>
                    <a:pt x="30" y="165"/>
                  </a:lnTo>
                  <a:lnTo>
                    <a:pt x="27" y="165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1" y="151"/>
                  </a:lnTo>
                  <a:lnTo>
                    <a:pt x="24" y="151"/>
                  </a:lnTo>
                  <a:lnTo>
                    <a:pt x="21" y="148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21" y="127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95"/>
                  </a:lnTo>
                  <a:lnTo>
                    <a:pt x="6" y="9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5" name="Freeform 146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8589050" y="1456990"/>
              <a:ext cx="30236" cy="39754"/>
            </a:xfrm>
            <a:custGeom>
              <a:avLst/>
              <a:gdLst>
                <a:gd name="T0" fmla="*/ 21 w 183"/>
                <a:gd name="T1" fmla="*/ 212 h 224"/>
                <a:gd name="T2" fmla="*/ 12 w 183"/>
                <a:gd name="T3" fmla="*/ 200 h 224"/>
                <a:gd name="T4" fmla="*/ 3 w 183"/>
                <a:gd name="T5" fmla="*/ 194 h 224"/>
                <a:gd name="T6" fmla="*/ 6 w 183"/>
                <a:gd name="T7" fmla="*/ 182 h 224"/>
                <a:gd name="T8" fmla="*/ 27 w 183"/>
                <a:gd name="T9" fmla="*/ 159 h 224"/>
                <a:gd name="T10" fmla="*/ 42 w 183"/>
                <a:gd name="T11" fmla="*/ 144 h 224"/>
                <a:gd name="T12" fmla="*/ 45 w 183"/>
                <a:gd name="T13" fmla="*/ 150 h 224"/>
                <a:gd name="T14" fmla="*/ 51 w 183"/>
                <a:gd name="T15" fmla="*/ 150 h 224"/>
                <a:gd name="T16" fmla="*/ 60 w 183"/>
                <a:gd name="T17" fmla="*/ 144 h 224"/>
                <a:gd name="T18" fmla="*/ 60 w 183"/>
                <a:gd name="T19" fmla="*/ 135 h 224"/>
                <a:gd name="T20" fmla="*/ 60 w 183"/>
                <a:gd name="T21" fmla="*/ 129 h 224"/>
                <a:gd name="T22" fmla="*/ 62 w 183"/>
                <a:gd name="T23" fmla="*/ 103 h 224"/>
                <a:gd name="T24" fmla="*/ 68 w 183"/>
                <a:gd name="T25" fmla="*/ 94 h 224"/>
                <a:gd name="T26" fmla="*/ 74 w 183"/>
                <a:gd name="T27" fmla="*/ 85 h 224"/>
                <a:gd name="T28" fmla="*/ 77 w 183"/>
                <a:gd name="T29" fmla="*/ 76 h 224"/>
                <a:gd name="T30" fmla="*/ 86 w 183"/>
                <a:gd name="T31" fmla="*/ 64 h 224"/>
                <a:gd name="T32" fmla="*/ 86 w 183"/>
                <a:gd name="T33" fmla="*/ 70 h 224"/>
                <a:gd name="T34" fmla="*/ 95 w 183"/>
                <a:gd name="T35" fmla="*/ 70 h 224"/>
                <a:gd name="T36" fmla="*/ 95 w 183"/>
                <a:gd name="T37" fmla="*/ 59 h 224"/>
                <a:gd name="T38" fmla="*/ 107 w 183"/>
                <a:gd name="T39" fmla="*/ 47 h 224"/>
                <a:gd name="T40" fmla="*/ 124 w 183"/>
                <a:gd name="T41" fmla="*/ 35 h 224"/>
                <a:gd name="T42" fmla="*/ 136 w 183"/>
                <a:gd name="T43" fmla="*/ 23 h 224"/>
                <a:gd name="T44" fmla="*/ 148 w 183"/>
                <a:gd name="T45" fmla="*/ 14 h 224"/>
                <a:gd name="T46" fmla="*/ 160 w 183"/>
                <a:gd name="T47" fmla="*/ 8 h 224"/>
                <a:gd name="T48" fmla="*/ 169 w 183"/>
                <a:gd name="T49" fmla="*/ 0 h 224"/>
                <a:gd name="T50" fmla="*/ 172 w 183"/>
                <a:gd name="T51" fmla="*/ 11 h 224"/>
                <a:gd name="T52" fmla="*/ 181 w 183"/>
                <a:gd name="T53" fmla="*/ 26 h 224"/>
                <a:gd name="T54" fmla="*/ 178 w 183"/>
                <a:gd name="T55" fmla="*/ 41 h 224"/>
                <a:gd name="T56" fmla="*/ 172 w 183"/>
                <a:gd name="T57" fmla="*/ 50 h 224"/>
                <a:gd name="T58" fmla="*/ 169 w 183"/>
                <a:gd name="T59" fmla="*/ 64 h 224"/>
                <a:gd name="T60" fmla="*/ 169 w 183"/>
                <a:gd name="T61" fmla="*/ 70 h 224"/>
                <a:gd name="T62" fmla="*/ 175 w 183"/>
                <a:gd name="T63" fmla="*/ 85 h 224"/>
                <a:gd name="T64" fmla="*/ 175 w 183"/>
                <a:gd name="T65" fmla="*/ 97 h 224"/>
                <a:gd name="T66" fmla="*/ 178 w 183"/>
                <a:gd name="T67" fmla="*/ 106 h 224"/>
                <a:gd name="T68" fmla="*/ 183 w 183"/>
                <a:gd name="T69" fmla="*/ 112 h 224"/>
                <a:gd name="T70" fmla="*/ 175 w 183"/>
                <a:gd name="T71" fmla="*/ 123 h 224"/>
                <a:gd name="T72" fmla="*/ 175 w 183"/>
                <a:gd name="T73" fmla="*/ 138 h 224"/>
                <a:gd name="T74" fmla="*/ 169 w 183"/>
                <a:gd name="T75" fmla="*/ 153 h 224"/>
                <a:gd name="T76" fmla="*/ 163 w 183"/>
                <a:gd name="T77" fmla="*/ 165 h 224"/>
                <a:gd name="T78" fmla="*/ 160 w 183"/>
                <a:gd name="T79" fmla="*/ 174 h 224"/>
                <a:gd name="T80" fmla="*/ 154 w 183"/>
                <a:gd name="T81" fmla="*/ 182 h 224"/>
                <a:gd name="T82" fmla="*/ 145 w 183"/>
                <a:gd name="T83" fmla="*/ 185 h 224"/>
                <a:gd name="T84" fmla="*/ 139 w 183"/>
                <a:gd name="T85" fmla="*/ 185 h 224"/>
                <a:gd name="T86" fmla="*/ 130 w 183"/>
                <a:gd name="T87" fmla="*/ 168 h 224"/>
                <a:gd name="T88" fmla="*/ 133 w 183"/>
                <a:gd name="T89" fmla="*/ 153 h 224"/>
                <a:gd name="T90" fmla="*/ 127 w 183"/>
                <a:gd name="T91" fmla="*/ 165 h 224"/>
                <a:gd name="T92" fmla="*/ 119 w 183"/>
                <a:gd name="T93" fmla="*/ 168 h 224"/>
                <a:gd name="T94" fmla="*/ 104 w 183"/>
                <a:gd name="T95" fmla="*/ 182 h 224"/>
                <a:gd name="T96" fmla="*/ 92 w 183"/>
                <a:gd name="T97" fmla="*/ 177 h 224"/>
                <a:gd name="T98" fmla="*/ 80 w 183"/>
                <a:gd name="T99" fmla="*/ 180 h 224"/>
                <a:gd name="T100" fmla="*/ 65 w 183"/>
                <a:gd name="T101" fmla="*/ 182 h 224"/>
                <a:gd name="T102" fmla="*/ 48 w 183"/>
                <a:gd name="T103" fmla="*/ 188 h 224"/>
                <a:gd name="T104" fmla="*/ 51 w 183"/>
                <a:gd name="T105" fmla="*/ 197 h 224"/>
                <a:gd name="T106" fmla="*/ 42 w 183"/>
                <a:gd name="T107" fmla="*/ 209 h 224"/>
                <a:gd name="T108" fmla="*/ 36 w 183"/>
                <a:gd name="T109" fmla="*/ 221 h 224"/>
                <a:gd name="T110" fmla="*/ 27 w 183"/>
                <a:gd name="T111" fmla="*/ 221 h 224"/>
                <a:gd name="T112" fmla="*/ 18 w 183"/>
                <a:gd name="T113" fmla="*/ 218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3"/>
                <a:gd name="T172" fmla="*/ 0 h 224"/>
                <a:gd name="T173" fmla="*/ 183 w 183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3" h="224">
                  <a:moveTo>
                    <a:pt x="18" y="218"/>
                  </a:moveTo>
                  <a:lnTo>
                    <a:pt x="21" y="212"/>
                  </a:lnTo>
                  <a:lnTo>
                    <a:pt x="18" y="206"/>
                  </a:lnTo>
                  <a:lnTo>
                    <a:pt x="12" y="200"/>
                  </a:lnTo>
                  <a:lnTo>
                    <a:pt x="6" y="197"/>
                  </a:lnTo>
                  <a:lnTo>
                    <a:pt x="3" y="194"/>
                  </a:lnTo>
                  <a:lnTo>
                    <a:pt x="0" y="191"/>
                  </a:lnTo>
                  <a:lnTo>
                    <a:pt x="6" y="182"/>
                  </a:lnTo>
                  <a:lnTo>
                    <a:pt x="12" y="174"/>
                  </a:lnTo>
                  <a:lnTo>
                    <a:pt x="27" y="159"/>
                  </a:lnTo>
                  <a:lnTo>
                    <a:pt x="33" y="153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5" y="150"/>
                  </a:lnTo>
                  <a:lnTo>
                    <a:pt x="48" y="153"/>
                  </a:lnTo>
                  <a:lnTo>
                    <a:pt x="51" y="150"/>
                  </a:lnTo>
                  <a:lnTo>
                    <a:pt x="57" y="147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5"/>
                  </a:lnTo>
                  <a:lnTo>
                    <a:pt x="57" y="132"/>
                  </a:lnTo>
                  <a:lnTo>
                    <a:pt x="60" y="129"/>
                  </a:lnTo>
                  <a:lnTo>
                    <a:pt x="60" y="121"/>
                  </a:lnTo>
                  <a:lnTo>
                    <a:pt x="62" y="103"/>
                  </a:lnTo>
                  <a:lnTo>
                    <a:pt x="65" y="100"/>
                  </a:lnTo>
                  <a:lnTo>
                    <a:pt x="68" y="94"/>
                  </a:lnTo>
                  <a:lnTo>
                    <a:pt x="74" y="91"/>
                  </a:lnTo>
                  <a:lnTo>
                    <a:pt x="74" y="85"/>
                  </a:lnTo>
                  <a:lnTo>
                    <a:pt x="74" y="82"/>
                  </a:lnTo>
                  <a:lnTo>
                    <a:pt x="77" y="76"/>
                  </a:lnTo>
                  <a:lnTo>
                    <a:pt x="80" y="67"/>
                  </a:lnTo>
                  <a:lnTo>
                    <a:pt x="86" y="64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9" y="73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5" y="59"/>
                  </a:lnTo>
                  <a:lnTo>
                    <a:pt x="101" y="53"/>
                  </a:lnTo>
                  <a:lnTo>
                    <a:pt x="107" y="47"/>
                  </a:lnTo>
                  <a:lnTo>
                    <a:pt x="119" y="41"/>
                  </a:lnTo>
                  <a:lnTo>
                    <a:pt x="124" y="35"/>
                  </a:lnTo>
                  <a:lnTo>
                    <a:pt x="130" y="29"/>
                  </a:lnTo>
                  <a:lnTo>
                    <a:pt x="136" y="23"/>
                  </a:lnTo>
                  <a:lnTo>
                    <a:pt x="139" y="17"/>
                  </a:lnTo>
                  <a:lnTo>
                    <a:pt x="148" y="14"/>
                  </a:lnTo>
                  <a:lnTo>
                    <a:pt x="154" y="11"/>
                  </a:lnTo>
                  <a:lnTo>
                    <a:pt x="160" y="8"/>
                  </a:lnTo>
                  <a:lnTo>
                    <a:pt x="166" y="2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72" y="11"/>
                  </a:lnTo>
                  <a:lnTo>
                    <a:pt x="175" y="20"/>
                  </a:lnTo>
                  <a:lnTo>
                    <a:pt x="181" y="26"/>
                  </a:lnTo>
                  <a:lnTo>
                    <a:pt x="181" y="35"/>
                  </a:lnTo>
                  <a:lnTo>
                    <a:pt x="178" y="41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9" y="56"/>
                  </a:lnTo>
                  <a:lnTo>
                    <a:pt x="169" y="64"/>
                  </a:lnTo>
                  <a:lnTo>
                    <a:pt x="166" y="67"/>
                  </a:lnTo>
                  <a:lnTo>
                    <a:pt x="169" y="70"/>
                  </a:lnTo>
                  <a:lnTo>
                    <a:pt x="172" y="76"/>
                  </a:lnTo>
                  <a:lnTo>
                    <a:pt x="175" y="85"/>
                  </a:lnTo>
                  <a:lnTo>
                    <a:pt x="178" y="91"/>
                  </a:lnTo>
                  <a:lnTo>
                    <a:pt x="175" y="97"/>
                  </a:lnTo>
                  <a:lnTo>
                    <a:pt x="175" y="103"/>
                  </a:lnTo>
                  <a:lnTo>
                    <a:pt x="178" y="106"/>
                  </a:lnTo>
                  <a:lnTo>
                    <a:pt x="181" y="106"/>
                  </a:lnTo>
                  <a:lnTo>
                    <a:pt x="183" y="112"/>
                  </a:lnTo>
                  <a:lnTo>
                    <a:pt x="178" y="121"/>
                  </a:lnTo>
                  <a:lnTo>
                    <a:pt x="175" y="123"/>
                  </a:lnTo>
                  <a:lnTo>
                    <a:pt x="172" y="129"/>
                  </a:lnTo>
                  <a:lnTo>
                    <a:pt x="175" y="138"/>
                  </a:lnTo>
                  <a:lnTo>
                    <a:pt x="175" y="147"/>
                  </a:lnTo>
                  <a:lnTo>
                    <a:pt x="169" y="153"/>
                  </a:lnTo>
                  <a:lnTo>
                    <a:pt x="166" y="159"/>
                  </a:lnTo>
                  <a:lnTo>
                    <a:pt x="163" y="165"/>
                  </a:lnTo>
                  <a:lnTo>
                    <a:pt x="163" y="168"/>
                  </a:lnTo>
                  <a:lnTo>
                    <a:pt x="160" y="174"/>
                  </a:lnTo>
                  <a:lnTo>
                    <a:pt x="157" y="177"/>
                  </a:lnTo>
                  <a:lnTo>
                    <a:pt x="154" y="182"/>
                  </a:lnTo>
                  <a:lnTo>
                    <a:pt x="151" y="182"/>
                  </a:lnTo>
                  <a:lnTo>
                    <a:pt x="145" y="185"/>
                  </a:lnTo>
                  <a:lnTo>
                    <a:pt x="142" y="188"/>
                  </a:lnTo>
                  <a:lnTo>
                    <a:pt x="139" y="185"/>
                  </a:lnTo>
                  <a:lnTo>
                    <a:pt x="130" y="177"/>
                  </a:lnTo>
                  <a:lnTo>
                    <a:pt x="130" y="168"/>
                  </a:lnTo>
                  <a:lnTo>
                    <a:pt x="133" y="162"/>
                  </a:lnTo>
                  <a:lnTo>
                    <a:pt x="133" y="153"/>
                  </a:lnTo>
                  <a:lnTo>
                    <a:pt x="130" y="156"/>
                  </a:lnTo>
                  <a:lnTo>
                    <a:pt x="127" y="165"/>
                  </a:lnTo>
                  <a:lnTo>
                    <a:pt x="121" y="165"/>
                  </a:lnTo>
                  <a:lnTo>
                    <a:pt x="119" y="168"/>
                  </a:lnTo>
                  <a:lnTo>
                    <a:pt x="116" y="174"/>
                  </a:lnTo>
                  <a:lnTo>
                    <a:pt x="104" y="182"/>
                  </a:lnTo>
                  <a:lnTo>
                    <a:pt x="95" y="180"/>
                  </a:lnTo>
                  <a:lnTo>
                    <a:pt x="92" y="177"/>
                  </a:lnTo>
                  <a:lnTo>
                    <a:pt x="89" y="180"/>
                  </a:lnTo>
                  <a:lnTo>
                    <a:pt x="80" y="180"/>
                  </a:lnTo>
                  <a:lnTo>
                    <a:pt x="74" y="180"/>
                  </a:lnTo>
                  <a:lnTo>
                    <a:pt x="65" y="182"/>
                  </a:lnTo>
                  <a:lnTo>
                    <a:pt x="54" y="185"/>
                  </a:lnTo>
                  <a:lnTo>
                    <a:pt x="48" y="188"/>
                  </a:lnTo>
                  <a:lnTo>
                    <a:pt x="48" y="194"/>
                  </a:lnTo>
                  <a:lnTo>
                    <a:pt x="51" y="197"/>
                  </a:lnTo>
                  <a:lnTo>
                    <a:pt x="48" y="203"/>
                  </a:lnTo>
                  <a:lnTo>
                    <a:pt x="42" y="209"/>
                  </a:lnTo>
                  <a:lnTo>
                    <a:pt x="39" y="215"/>
                  </a:lnTo>
                  <a:lnTo>
                    <a:pt x="36" y="221"/>
                  </a:lnTo>
                  <a:lnTo>
                    <a:pt x="33" y="224"/>
                  </a:lnTo>
                  <a:lnTo>
                    <a:pt x="27" y="221"/>
                  </a:lnTo>
                  <a:lnTo>
                    <a:pt x="24" y="218"/>
                  </a:lnTo>
                  <a:lnTo>
                    <a:pt x="18" y="218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6" name="Freeform 147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318574" y="1387775"/>
              <a:ext cx="57499" cy="53952"/>
            </a:xfrm>
            <a:custGeom>
              <a:avLst/>
              <a:gdLst>
                <a:gd name="T0" fmla="*/ 132 w 348"/>
                <a:gd name="T1" fmla="*/ 233 h 304"/>
                <a:gd name="T2" fmla="*/ 147 w 348"/>
                <a:gd name="T3" fmla="*/ 260 h 304"/>
                <a:gd name="T4" fmla="*/ 186 w 348"/>
                <a:gd name="T5" fmla="*/ 280 h 304"/>
                <a:gd name="T6" fmla="*/ 230 w 348"/>
                <a:gd name="T7" fmla="*/ 286 h 304"/>
                <a:gd name="T8" fmla="*/ 245 w 348"/>
                <a:gd name="T9" fmla="*/ 289 h 304"/>
                <a:gd name="T10" fmla="*/ 253 w 348"/>
                <a:gd name="T11" fmla="*/ 277 h 304"/>
                <a:gd name="T12" fmla="*/ 265 w 348"/>
                <a:gd name="T13" fmla="*/ 269 h 304"/>
                <a:gd name="T14" fmla="*/ 265 w 348"/>
                <a:gd name="T15" fmla="*/ 257 h 304"/>
                <a:gd name="T16" fmla="*/ 271 w 348"/>
                <a:gd name="T17" fmla="*/ 254 h 304"/>
                <a:gd name="T18" fmla="*/ 268 w 348"/>
                <a:gd name="T19" fmla="*/ 239 h 304"/>
                <a:gd name="T20" fmla="*/ 268 w 348"/>
                <a:gd name="T21" fmla="*/ 230 h 304"/>
                <a:gd name="T22" fmla="*/ 274 w 348"/>
                <a:gd name="T23" fmla="*/ 224 h 304"/>
                <a:gd name="T24" fmla="*/ 277 w 348"/>
                <a:gd name="T25" fmla="*/ 218 h 304"/>
                <a:gd name="T26" fmla="*/ 283 w 348"/>
                <a:gd name="T27" fmla="*/ 210 h 304"/>
                <a:gd name="T28" fmla="*/ 277 w 348"/>
                <a:gd name="T29" fmla="*/ 198 h 304"/>
                <a:gd name="T30" fmla="*/ 286 w 348"/>
                <a:gd name="T31" fmla="*/ 189 h 304"/>
                <a:gd name="T32" fmla="*/ 292 w 348"/>
                <a:gd name="T33" fmla="*/ 192 h 304"/>
                <a:gd name="T34" fmla="*/ 298 w 348"/>
                <a:gd name="T35" fmla="*/ 180 h 304"/>
                <a:gd name="T36" fmla="*/ 307 w 348"/>
                <a:gd name="T37" fmla="*/ 171 h 304"/>
                <a:gd name="T38" fmla="*/ 318 w 348"/>
                <a:gd name="T39" fmla="*/ 165 h 304"/>
                <a:gd name="T40" fmla="*/ 324 w 348"/>
                <a:gd name="T41" fmla="*/ 156 h 304"/>
                <a:gd name="T42" fmla="*/ 327 w 348"/>
                <a:gd name="T43" fmla="*/ 148 h 304"/>
                <a:gd name="T44" fmla="*/ 333 w 348"/>
                <a:gd name="T45" fmla="*/ 145 h 304"/>
                <a:gd name="T46" fmla="*/ 348 w 348"/>
                <a:gd name="T47" fmla="*/ 145 h 304"/>
                <a:gd name="T48" fmla="*/ 336 w 348"/>
                <a:gd name="T49" fmla="*/ 136 h 304"/>
                <a:gd name="T50" fmla="*/ 318 w 348"/>
                <a:gd name="T51" fmla="*/ 127 h 304"/>
                <a:gd name="T52" fmla="*/ 307 w 348"/>
                <a:gd name="T53" fmla="*/ 118 h 304"/>
                <a:gd name="T54" fmla="*/ 295 w 348"/>
                <a:gd name="T55" fmla="*/ 112 h 304"/>
                <a:gd name="T56" fmla="*/ 280 w 348"/>
                <a:gd name="T57" fmla="*/ 109 h 304"/>
                <a:gd name="T58" fmla="*/ 268 w 348"/>
                <a:gd name="T59" fmla="*/ 103 h 304"/>
                <a:gd name="T60" fmla="*/ 262 w 348"/>
                <a:gd name="T61" fmla="*/ 94 h 304"/>
                <a:gd name="T62" fmla="*/ 262 w 348"/>
                <a:gd name="T63" fmla="*/ 91 h 304"/>
                <a:gd name="T64" fmla="*/ 265 w 348"/>
                <a:gd name="T65" fmla="*/ 80 h 304"/>
                <a:gd name="T66" fmla="*/ 256 w 348"/>
                <a:gd name="T67" fmla="*/ 80 h 304"/>
                <a:gd name="T68" fmla="*/ 245 w 348"/>
                <a:gd name="T69" fmla="*/ 74 h 304"/>
                <a:gd name="T70" fmla="*/ 236 w 348"/>
                <a:gd name="T71" fmla="*/ 68 h 304"/>
                <a:gd name="T72" fmla="*/ 227 w 348"/>
                <a:gd name="T73" fmla="*/ 56 h 304"/>
                <a:gd name="T74" fmla="*/ 215 w 348"/>
                <a:gd name="T75" fmla="*/ 56 h 304"/>
                <a:gd name="T76" fmla="*/ 203 w 348"/>
                <a:gd name="T77" fmla="*/ 59 h 304"/>
                <a:gd name="T78" fmla="*/ 194 w 348"/>
                <a:gd name="T79" fmla="*/ 50 h 304"/>
                <a:gd name="T80" fmla="*/ 186 w 348"/>
                <a:gd name="T81" fmla="*/ 44 h 304"/>
                <a:gd name="T82" fmla="*/ 177 w 348"/>
                <a:gd name="T83" fmla="*/ 38 h 304"/>
                <a:gd name="T84" fmla="*/ 171 w 348"/>
                <a:gd name="T85" fmla="*/ 27 h 304"/>
                <a:gd name="T86" fmla="*/ 165 w 348"/>
                <a:gd name="T87" fmla="*/ 15 h 304"/>
                <a:gd name="T88" fmla="*/ 156 w 348"/>
                <a:gd name="T89" fmla="*/ 6 h 304"/>
                <a:gd name="T90" fmla="*/ 144 w 348"/>
                <a:gd name="T91" fmla="*/ 6 h 304"/>
                <a:gd name="T92" fmla="*/ 141 w 348"/>
                <a:gd name="T93" fmla="*/ 12 h 304"/>
                <a:gd name="T94" fmla="*/ 132 w 348"/>
                <a:gd name="T95" fmla="*/ 21 h 304"/>
                <a:gd name="T96" fmla="*/ 129 w 348"/>
                <a:gd name="T97" fmla="*/ 35 h 304"/>
                <a:gd name="T98" fmla="*/ 103 w 348"/>
                <a:gd name="T99" fmla="*/ 27 h 304"/>
                <a:gd name="T100" fmla="*/ 79 w 348"/>
                <a:gd name="T101" fmla="*/ 18 h 304"/>
                <a:gd name="T102" fmla="*/ 44 w 348"/>
                <a:gd name="T103" fmla="*/ 32 h 304"/>
                <a:gd name="T104" fmla="*/ 29 w 348"/>
                <a:gd name="T105" fmla="*/ 53 h 304"/>
                <a:gd name="T106" fmla="*/ 23 w 348"/>
                <a:gd name="T107" fmla="*/ 59 h 304"/>
                <a:gd name="T108" fmla="*/ 17 w 348"/>
                <a:gd name="T109" fmla="*/ 74 h 304"/>
                <a:gd name="T110" fmla="*/ 20 w 348"/>
                <a:gd name="T111" fmla="*/ 97 h 304"/>
                <a:gd name="T112" fmla="*/ 8 w 348"/>
                <a:gd name="T113" fmla="*/ 112 h 304"/>
                <a:gd name="T114" fmla="*/ 11 w 348"/>
                <a:gd name="T115" fmla="*/ 127 h 304"/>
                <a:gd name="T116" fmla="*/ 14 w 348"/>
                <a:gd name="T117" fmla="*/ 168 h 304"/>
                <a:gd name="T118" fmla="*/ 38 w 348"/>
                <a:gd name="T119" fmla="*/ 192 h 304"/>
                <a:gd name="T120" fmla="*/ 62 w 348"/>
                <a:gd name="T121" fmla="*/ 195 h 3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8"/>
                <a:gd name="T184" fmla="*/ 0 h 304"/>
                <a:gd name="T185" fmla="*/ 348 w 348"/>
                <a:gd name="T186" fmla="*/ 304 h 3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8" h="304">
                  <a:moveTo>
                    <a:pt x="82" y="186"/>
                  </a:moveTo>
                  <a:lnTo>
                    <a:pt x="94" y="198"/>
                  </a:lnTo>
                  <a:lnTo>
                    <a:pt x="100" y="21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21" y="236"/>
                  </a:lnTo>
                  <a:lnTo>
                    <a:pt x="118" y="242"/>
                  </a:lnTo>
                  <a:lnTo>
                    <a:pt x="124" y="248"/>
                  </a:lnTo>
                  <a:lnTo>
                    <a:pt x="132" y="260"/>
                  </a:lnTo>
                  <a:lnTo>
                    <a:pt x="147" y="260"/>
                  </a:lnTo>
                  <a:lnTo>
                    <a:pt x="156" y="260"/>
                  </a:lnTo>
                  <a:lnTo>
                    <a:pt x="156" y="269"/>
                  </a:lnTo>
                  <a:lnTo>
                    <a:pt x="165" y="274"/>
                  </a:lnTo>
                  <a:lnTo>
                    <a:pt x="177" y="280"/>
                  </a:lnTo>
                  <a:lnTo>
                    <a:pt x="186" y="280"/>
                  </a:lnTo>
                  <a:lnTo>
                    <a:pt x="188" y="289"/>
                  </a:lnTo>
                  <a:lnTo>
                    <a:pt x="200" y="289"/>
                  </a:lnTo>
                  <a:lnTo>
                    <a:pt x="209" y="292"/>
                  </a:lnTo>
                  <a:lnTo>
                    <a:pt x="218" y="289"/>
                  </a:lnTo>
                  <a:lnTo>
                    <a:pt x="230" y="286"/>
                  </a:lnTo>
                  <a:lnTo>
                    <a:pt x="230" y="298"/>
                  </a:lnTo>
                  <a:lnTo>
                    <a:pt x="236" y="301"/>
                  </a:lnTo>
                  <a:lnTo>
                    <a:pt x="242" y="304"/>
                  </a:lnTo>
                  <a:lnTo>
                    <a:pt x="247" y="301"/>
                  </a:lnTo>
                  <a:lnTo>
                    <a:pt x="245" y="289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3" y="283"/>
                  </a:lnTo>
                  <a:lnTo>
                    <a:pt x="253" y="280"/>
                  </a:lnTo>
                  <a:lnTo>
                    <a:pt x="253" y="277"/>
                  </a:lnTo>
                  <a:lnTo>
                    <a:pt x="256" y="272"/>
                  </a:lnTo>
                  <a:lnTo>
                    <a:pt x="256" y="269"/>
                  </a:lnTo>
                  <a:lnTo>
                    <a:pt x="259" y="266"/>
                  </a:lnTo>
                  <a:lnTo>
                    <a:pt x="262" y="269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8" y="266"/>
                  </a:lnTo>
                  <a:lnTo>
                    <a:pt x="265" y="263"/>
                  </a:lnTo>
                  <a:lnTo>
                    <a:pt x="265" y="260"/>
                  </a:lnTo>
                  <a:lnTo>
                    <a:pt x="265" y="257"/>
                  </a:lnTo>
                  <a:lnTo>
                    <a:pt x="268" y="257"/>
                  </a:lnTo>
                  <a:lnTo>
                    <a:pt x="268" y="260"/>
                  </a:lnTo>
                  <a:lnTo>
                    <a:pt x="271" y="260"/>
                  </a:lnTo>
                  <a:lnTo>
                    <a:pt x="271" y="257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1" y="248"/>
                  </a:lnTo>
                  <a:lnTo>
                    <a:pt x="271" y="245"/>
                  </a:lnTo>
                  <a:lnTo>
                    <a:pt x="268" y="242"/>
                  </a:lnTo>
                  <a:lnTo>
                    <a:pt x="268" y="239"/>
                  </a:lnTo>
                  <a:lnTo>
                    <a:pt x="268" y="236"/>
                  </a:lnTo>
                  <a:lnTo>
                    <a:pt x="265" y="236"/>
                  </a:lnTo>
                  <a:lnTo>
                    <a:pt x="265" y="233"/>
                  </a:lnTo>
                  <a:lnTo>
                    <a:pt x="265" y="230"/>
                  </a:lnTo>
                  <a:lnTo>
                    <a:pt x="268" y="230"/>
                  </a:lnTo>
                  <a:lnTo>
                    <a:pt x="271" y="230"/>
                  </a:lnTo>
                  <a:lnTo>
                    <a:pt x="268" y="227"/>
                  </a:lnTo>
                  <a:lnTo>
                    <a:pt x="271" y="227"/>
                  </a:lnTo>
                  <a:lnTo>
                    <a:pt x="271" y="224"/>
                  </a:lnTo>
                  <a:lnTo>
                    <a:pt x="274" y="224"/>
                  </a:lnTo>
                  <a:lnTo>
                    <a:pt x="274" y="221"/>
                  </a:lnTo>
                  <a:lnTo>
                    <a:pt x="277" y="221"/>
                  </a:lnTo>
                  <a:lnTo>
                    <a:pt x="274" y="221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80" y="218"/>
                  </a:lnTo>
                  <a:lnTo>
                    <a:pt x="280" y="215"/>
                  </a:lnTo>
                  <a:lnTo>
                    <a:pt x="283" y="212"/>
                  </a:lnTo>
                  <a:lnTo>
                    <a:pt x="280" y="212"/>
                  </a:lnTo>
                  <a:lnTo>
                    <a:pt x="283" y="210"/>
                  </a:lnTo>
                  <a:lnTo>
                    <a:pt x="283" y="207"/>
                  </a:lnTo>
                  <a:lnTo>
                    <a:pt x="280" y="207"/>
                  </a:lnTo>
                  <a:lnTo>
                    <a:pt x="280" y="204"/>
                  </a:lnTo>
                  <a:lnTo>
                    <a:pt x="277" y="201"/>
                  </a:lnTo>
                  <a:lnTo>
                    <a:pt x="277" y="198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2"/>
                  </a:lnTo>
                  <a:lnTo>
                    <a:pt x="283" y="189"/>
                  </a:lnTo>
                  <a:lnTo>
                    <a:pt x="286" y="189"/>
                  </a:lnTo>
                  <a:lnTo>
                    <a:pt x="286" y="192"/>
                  </a:lnTo>
                  <a:lnTo>
                    <a:pt x="283" y="192"/>
                  </a:lnTo>
                  <a:lnTo>
                    <a:pt x="289" y="189"/>
                  </a:lnTo>
                  <a:lnTo>
                    <a:pt x="289" y="192"/>
                  </a:lnTo>
                  <a:lnTo>
                    <a:pt x="292" y="192"/>
                  </a:lnTo>
                  <a:lnTo>
                    <a:pt x="292" y="189"/>
                  </a:lnTo>
                  <a:lnTo>
                    <a:pt x="295" y="186"/>
                  </a:lnTo>
                  <a:lnTo>
                    <a:pt x="298" y="186"/>
                  </a:lnTo>
                  <a:lnTo>
                    <a:pt x="298" y="183"/>
                  </a:lnTo>
                  <a:lnTo>
                    <a:pt x="298" y="180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1" y="171"/>
                  </a:lnTo>
                  <a:lnTo>
                    <a:pt x="304" y="171"/>
                  </a:lnTo>
                  <a:lnTo>
                    <a:pt x="307" y="171"/>
                  </a:lnTo>
                  <a:lnTo>
                    <a:pt x="309" y="171"/>
                  </a:lnTo>
                  <a:lnTo>
                    <a:pt x="312" y="168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8" y="165"/>
                  </a:lnTo>
                  <a:lnTo>
                    <a:pt x="318" y="162"/>
                  </a:lnTo>
                  <a:lnTo>
                    <a:pt x="318" y="159"/>
                  </a:lnTo>
                  <a:lnTo>
                    <a:pt x="321" y="159"/>
                  </a:lnTo>
                  <a:lnTo>
                    <a:pt x="321" y="156"/>
                  </a:lnTo>
                  <a:lnTo>
                    <a:pt x="324" y="156"/>
                  </a:lnTo>
                  <a:lnTo>
                    <a:pt x="324" y="153"/>
                  </a:lnTo>
                  <a:lnTo>
                    <a:pt x="327" y="153"/>
                  </a:lnTo>
                  <a:lnTo>
                    <a:pt x="330" y="153"/>
                  </a:lnTo>
                  <a:lnTo>
                    <a:pt x="327" y="151"/>
                  </a:lnTo>
                  <a:lnTo>
                    <a:pt x="327" y="148"/>
                  </a:lnTo>
                  <a:lnTo>
                    <a:pt x="330" y="148"/>
                  </a:lnTo>
                  <a:lnTo>
                    <a:pt x="330" y="145"/>
                  </a:lnTo>
                  <a:lnTo>
                    <a:pt x="330" y="142"/>
                  </a:lnTo>
                  <a:lnTo>
                    <a:pt x="333" y="142"/>
                  </a:lnTo>
                  <a:lnTo>
                    <a:pt x="333" y="145"/>
                  </a:lnTo>
                  <a:lnTo>
                    <a:pt x="333" y="148"/>
                  </a:lnTo>
                  <a:lnTo>
                    <a:pt x="336" y="148"/>
                  </a:lnTo>
                  <a:lnTo>
                    <a:pt x="342" y="145"/>
                  </a:lnTo>
                  <a:lnTo>
                    <a:pt x="345" y="145"/>
                  </a:lnTo>
                  <a:lnTo>
                    <a:pt x="348" y="145"/>
                  </a:lnTo>
                  <a:lnTo>
                    <a:pt x="345" y="142"/>
                  </a:lnTo>
                  <a:lnTo>
                    <a:pt x="345" y="139"/>
                  </a:lnTo>
                  <a:lnTo>
                    <a:pt x="342" y="139"/>
                  </a:lnTo>
                  <a:lnTo>
                    <a:pt x="339" y="136"/>
                  </a:lnTo>
                  <a:lnTo>
                    <a:pt x="336" y="136"/>
                  </a:lnTo>
                  <a:lnTo>
                    <a:pt x="330" y="133"/>
                  </a:lnTo>
                  <a:lnTo>
                    <a:pt x="327" y="133"/>
                  </a:lnTo>
                  <a:lnTo>
                    <a:pt x="324" y="133"/>
                  </a:lnTo>
                  <a:lnTo>
                    <a:pt x="321" y="130"/>
                  </a:lnTo>
                  <a:lnTo>
                    <a:pt x="318" y="127"/>
                  </a:lnTo>
                  <a:lnTo>
                    <a:pt x="315" y="124"/>
                  </a:lnTo>
                  <a:lnTo>
                    <a:pt x="315" y="121"/>
                  </a:lnTo>
                  <a:lnTo>
                    <a:pt x="312" y="121"/>
                  </a:lnTo>
                  <a:lnTo>
                    <a:pt x="309" y="118"/>
                  </a:lnTo>
                  <a:lnTo>
                    <a:pt x="307" y="118"/>
                  </a:lnTo>
                  <a:lnTo>
                    <a:pt x="301" y="115"/>
                  </a:lnTo>
                  <a:lnTo>
                    <a:pt x="301" y="112"/>
                  </a:lnTo>
                  <a:lnTo>
                    <a:pt x="298" y="115"/>
                  </a:lnTo>
                  <a:lnTo>
                    <a:pt x="295" y="115"/>
                  </a:lnTo>
                  <a:lnTo>
                    <a:pt x="295" y="112"/>
                  </a:lnTo>
                  <a:lnTo>
                    <a:pt x="292" y="112"/>
                  </a:lnTo>
                  <a:lnTo>
                    <a:pt x="289" y="112"/>
                  </a:lnTo>
                  <a:lnTo>
                    <a:pt x="286" y="109"/>
                  </a:lnTo>
                  <a:lnTo>
                    <a:pt x="283" y="109"/>
                  </a:lnTo>
                  <a:lnTo>
                    <a:pt x="280" y="109"/>
                  </a:lnTo>
                  <a:lnTo>
                    <a:pt x="280" y="106"/>
                  </a:lnTo>
                  <a:lnTo>
                    <a:pt x="277" y="106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8" y="103"/>
                  </a:lnTo>
                  <a:lnTo>
                    <a:pt x="265" y="103"/>
                  </a:lnTo>
                  <a:lnTo>
                    <a:pt x="262" y="100"/>
                  </a:lnTo>
                  <a:lnTo>
                    <a:pt x="265" y="97"/>
                  </a:lnTo>
                  <a:lnTo>
                    <a:pt x="262" y="97"/>
                  </a:lnTo>
                  <a:lnTo>
                    <a:pt x="262" y="94"/>
                  </a:lnTo>
                  <a:lnTo>
                    <a:pt x="265" y="94"/>
                  </a:lnTo>
                  <a:lnTo>
                    <a:pt x="262" y="94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5" y="89"/>
                  </a:lnTo>
                  <a:lnTo>
                    <a:pt x="268" y="86"/>
                  </a:lnTo>
                  <a:lnTo>
                    <a:pt x="268" y="83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3" y="77"/>
                  </a:lnTo>
                  <a:lnTo>
                    <a:pt x="250" y="77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1"/>
                  </a:lnTo>
                  <a:lnTo>
                    <a:pt x="242" y="71"/>
                  </a:lnTo>
                  <a:lnTo>
                    <a:pt x="242" y="68"/>
                  </a:lnTo>
                  <a:lnTo>
                    <a:pt x="239" y="68"/>
                  </a:lnTo>
                  <a:lnTo>
                    <a:pt x="236" y="68"/>
                  </a:lnTo>
                  <a:lnTo>
                    <a:pt x="236" y="65"/>
                  </a:lnTo>
                  <a:lnTo>
                    <a:pt x="233" y="62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4" y="56"/>
                  </a:lnTo>
                  <a:lnTo>
                    <a:pt x="221" y="56"/>
                  </a:lnTo>
                  <a:lnTo>
                    <a:pt x="218" y="53"/>
                  </a:lnTo>
                  <a:lnTo>
                    <a:pt x="218" y="56"/>
                  </a:lnTo>
                  <a:lnTo>
                    <a:pt x="215" y="56"/>
                  </a:lnTo>
                  <a:lnTo>
                    <a:pt x="212" y="56"/>
                  </a:lnTo>
                  <a:lnTo>
                    <a:pt x="209" y="56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200" y="56"/>
                  </a:lnTo>
                  <a:lnTo>
                    <a:pt x="197" y="56"/>
                  </a:lnTo>
                  <a:lnTo>
                    <a:pt x="194" y="53"/>
                  </a:lnTo>
                  <a:lnTo>
                    <a:pt x="194" y="50"/>
                  </a:lnTo>
                  <a:lnTo>
                    <a:pt x="191" y="50"/>
                  </a:lnTo>
                  <a:lnTo>
                    <a:pt x="188" y="50"/>
                  </a:lnTo>
                  <a:lnTo>
                    <a:pt x="186" y="50"/>
                  </a:lnTo>
                  <a:lnTo>
                    <a:pt x="186" y="47"/>
                  </a:lnTo>
                  <a:lnTo>
                    <a:pt x="186" y="44"/>
                  </a:lnTo>
                  <a:lnTo>
                    <a:pt x="183" y="44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0" y="38"/>
                  </a:lnTo>
                  <a:lnTo>
                    <a:pt x="177" y="38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74" y="30"/>
                  </a:lnTo>
                  <a:lnTo>
                    <a:pt x="174" y="27"/>
                  </a:lnTo>
                  <a:lnTo>
                    <a:pt x="171" y="27"/>
                  </a:lnTo>
                  <a:lnTo>
                    <a:pt x="168" y="27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18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2" y="12"/>
                  </a:lnTo>
                  <a:lnTo>
                    <a:pt x="159" y="9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41" y="32"/>
                  </a:lnTo>
                  <a:lnTo>
                    <a:pt x="144" y="38"/>
                  </a:lnTo>
                  <a:lnTo>
                    <a:pt x="141" y="41"/>
                  </a:lnTo>
                  <a:lnTo>
                    <a:pt x="132" y="38"/>
                  </a:lnTo>
                  <a:lnTo>
                    <a:pt x="129" y="35"/>
                  </a:lnTo>
                  <a:lnTo>
                    <a:pt x="126" y="32"/>
                  </a:lnTo>
                  <a:lnTo>
                    <a:pt x="124" y="30"/>
                  </a:lnTo>
                  <a:lnTo>
                    <a:pt x="115" y="30"/>
                  </a:lnTo>
                  <a:lnTo>
                    <a:pt x="109" y="27"/>
                  </a:lnTo>
                  <a:lnTo>
                    <a:pt x="103" y="27"/>
                  </a:lnTo>
                  <a:lnTo>
                    <a:pt x="100" y="30"/>
                  </a:lnTo>
                  <a:lnTo>
                    <a:pt x="94" y="27"/>
                  </a:lnTo>
                  <a:lnTo>
                    <a:pt x="85" y="21"/>
                  </a:lnTo>
                  <a:lnTo>
                    <a:pt x="82" y="18"/>
                  </a:lnTo>
                  <a:lnTo>
                    <a:pt x="79" y="18"/>
                  </a:lnTo>
                  <a:lnTo>
                    <a:pt x="76" y="21"/>
                  </a:lnTo>
                  <a:lnTo>
                    <a:pt x="70" y="24"/>
                  </a:lnTo>
                  <a:lnTo>
                    <a:pt x="59" y="27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35" y="38"/>
                  </a:lnTo>
                  <a:lnTo>
                    <a:pt x="29" y="44"/>
                  </a:lnTo>
                  <a:lnTo>
                    <a:pt x="26" y="47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26" y="56"/>
                  </a:lnTo>
                  <a:lnTo>
                    <a:pt x="23" y="56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3" y="65"/>
                  </a:lnTo>
                  <a:lnTo>
                    <a:pt x="20" y="68"/>
                  </a:lnTo>
                  <a:lnTo>
                    <a:pt x="20" y="71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20" y="89"/>
                  </a:lnTo>
                  <a:lnTo>
                    <a:pt x="23" y="91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3"/>
                  </a:lnTo>
                  <a:lnTo>
                    <a:pt x="26" y="106"/>
                  </a:lnTo>
                  <a:lnTo>
                    <a:pt x="17" y="109"/>
                  </a:lnTo>
                  <a:lnTo>
                    <a:pt x="8" y="112"/>
                  </a:lnTo>
                  <a:lnTo>
                    <a:pt x="3" y="112"/>
                  </a:lnTo>
                  <a:lnTo>
                    <a:pt x="0" y="115"/>
                  </a:lnTo>
                  <a:lnTo>
                    <a:pt x="3" y="118"/>
                  </a:lnTo>
                  <a:lnTo>
                    <a:pt x="0" y="127"/>
                  </a:lnTo>
                  <a:lnTo>
                    <a:pt x="11" y="127"/>
                  </a:lnTo>
                  <a:lnTo>
                    <a:pt x="26" y="133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3" y="156"/>
                  </a:lnTo>
                  <a:lnTo>
                    <a:pt x="14" y="168"/>
                  </a:lnTo>
                  <a:lnTo>
                    <a:pt x="11" y="177"/>
                  </a:lnTo>
                  <a:lnTo>
                    <a:pt x="17" y="189"/>
                  </a:lnTo>
                  <a:lnTo>
                    <a:pt x="20" y="195"/>
                  </a:lnTo>
                  <a:lnTo>
                    <a:pt x="32" y="195"/>
                  </a:lnTo>
                  <a:lnTo>
                    <a:pt x="38" y="192"/>
                  </a:lnTo>
                  <a:lnTo>
                    <a:pt x="38" y="201"/>
                  </a:lnTo>
                  <a:lnTo>
                    <a:pt x="44" y="207"/>
                  </a:lnTo>
                  <a:lnTo>
                    <a:pt x="50" y="210"/>
                  </a:lnTo>
                  <a:lnTo>
                    <a:pt x="53" y="201"/>
                  </a:lnTo>
                  <a:lnTo>
                    <a:pt x="62" y="195"/>
                  </a:lnTo>
                  <a:lnTo>
                    <a:pt x="65" y="189"/>
                  </a:lnTo>
                  <a:lnTo>
                    <a:pt x="73" y="189"/>
                  </a:lnTo>
                  <a:lnTo>
                    <a:pt x="82" y="186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Freeform 148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8185401" y="1586724"/>
              <a:ext cx="41472" cy="16860"/>
            </a:xfrm>
            <a:custGeom>
              <a:avLst/>
              <a:gdLst>
                <a:gd name="T0" fmla="*/ 242 w 251"/>
                <a:gd name="T1" fmla="*/ 95 h 95"/>
                <a:gd name="T2" fmla="*/ 242 w 251"/>
                <a:gd name="T3" fmla="*/ 92 h 95"/>
                <a:gd name="T4" fmla="*/ 242 w 251"/>
                <a:gd name="T5" fmla="*/ 89 h 95"/>
                <a:gd name="T6" fmla="*/ 245 w 251"/>
                <a:gd name="T7" fmla="*/ 86 h 95"/>
                <a:gd name="T8" fmla="*/ 248 w 251"/>
                <a:gd name="T9" fmla="*/ 83 h 95"/>
                <a:gd name="T10" fmla="*/ 248 w 251"/>
                <a:gd name="T11" fmla="*/ 86 h 95"/>
                <a:gd name="T12" fmla="*/ 251 w 251"/>
                <a:gd name="T13" fmla="*/ 89 h 95"/>
                <a:gd name="T14" fmla="*/ 251 w 251"/>
                <a:gd name="T15" fmla="*/ 92 h 95"/>
                <a:gd name="T16" fmla="*/ 248 w 251"/>
                <a:gd name="T17" fmla="*/ 92 h 95"/>
                <a:gd name="T18" fmla="*/ 245 w 251"/>
                <a:gd name="T19" fmla="*/ 95 h 95"/>
                <a:gd name="T20" fmla="*/ 242 w 251"/>
                <a:gd name="T21" fmla="*/ 95 h 95"/>
                <a:gd name="T22" fmla="*/ 0 w 251"/>
                <a:gd name="T23" fmla="*/ 27 h 95"/>
                <a:gd name="T24" fmla="*/ 3 w 251"/>
                <a:gd name="T25" fmla="*/ 21 h 95"/>
                <a:gd name="T26" fmla="*/ 6 w 251"/>
                <a:gd name="T27" fmla="*/ 18 h 95"/>
                <a:gd name="T28" fmla="*/ 6 w 251"/>
                <a:gd name="T29" fmla="*/ 15 h 95"/>
                <a:gd name="T30" fmla="*/ 6 w 251"/>
                <a:gd name="T31" fmla="*/ 12 h 95"/>
                <a:gd name="T32" fmla="*/ 6 w 251"/>
                <a:gd name="T33" fmla="*/ 6 h 95"/>
                <a:gd name="T34" fmla="*/ 12 w 251"/>
                <a:gd name="T35" fmla="*/ 0 h 95"/>
                <a:gd name="T36" fmla="*/ 18 w 251"/>
                <a:gd name="T37" fmla="*/ 3 h 95"/>
                <a:gd name="T38" fmla="*/ 24 w 251"/>
                <a:gd name="T39" fmla="*/ 3 h 95"/>
                <a:gd name="T40" fmla="*/ 29 w 251"/>
                <a:gd name="T41" fmla="*/ 6 h 95"/>
                <a:gd name="T42" fmla="*/ 29 w 251"/>
                <a:gd name="T43" fmla="*/ 9 h 95"/>
                <a:gd name="T44" fmla="*/ 26 w 251"/>
                <a:gd name="T45" fmla="*/ 12 h 95"/>
                <a:gd name="T46" fmla="*/ 24 w 251"/>
                <a:gd name="T47" fmla="*/ 15 h 95"/>
                <a:gd name="T48" fmla="*/ 24 w 251"/>
                <a:gd name="T49" fmla="*/ 18 h 95"/>
                <a:gd name="T50" fmla="*/ 29 w 251"/>
                <a:gd name="T51" fmla="*/ 18 h 95"/>
                <a:gd name="T52" fmla="*/ 29 w 251"/>
                <a:gd name="T53" fmla="*/ 21 h 95"/>
                <a:gd name="T54" fmla="*/ 26 w 251"/>
                <a:gd name="T55" fmla="*/ 24 h 95"/>
                <a:gd name="T56" fmla="*/ 24 w 251"/>
                <a:gd name="T57" fmla="*/ 27 h 95"/>
                <a:gd name="T58" fmla="*/ 24 w 251"/>
                <a:gd name="T59" fmla="*/ 30 h 95"/>
                <a:gd name="T60" fmla="*/ 24 w 251"/>
                <a:gd name="T61" fmla="*/ 33 h 95"/>
                <a:gd name="T62" fmla="*/ 24 w 251"/>
                <a:gd name="T63" fmla="*/ 36 h 95"/>
                <a:gd name="T64" fmla="*/ 18 w 251"/>
                <a:gd name="T65" fmla="*/ 36 h 95"/>
                <a:gd name="T66" fmla="*/ 15 w 251"/>
                <a:gd name="T67" fmla="*/ 33 h 95"/>
                <a:gd name="T68" fmla="*/ 9 w 251"/>
                <a:gd name="T69" fmla="*/ 33 h 95"/>
                <a:gd name="T70" fmla="*/ 6 w 251"/>
                <a:gd name="T71" fmla="*/ 30 h 95"/>
                <a:gd name="T72" fmla="*/ 3 w 251"/>
                <a:gd name="T73" fmla="*/ 30 h 95"/>
                <a:gd name="T74" fmla="*/ 0 w 251"/>
                <a:gd name="T75" fmla="*/ 27 h 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1"/>
                <a:gd name="T115" fmla="*/ 0 h 95"/>
                <a:gd name="T116" fmla="*/ 251 w 251"/>
                <a:gd name="T117" fmla="*/ 95 h 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1" h="95">
                  <a:moveTo>
                    <a:pt x="242" y="95"/>
                  </a:moveTo>
                  <a:lnTo>
                    <a:pt x="242" y="92"/>
                  </a:lnTo>
                  <a:lnTo>
                    <a:pt x="242" y="89"/>
                  </a:lnTo>
                  <a:lnTo>
                    <a:pt x="245" y="86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51" y="89"/>
                  </a:lnTo>
                  <a:lnTo>
                    <a:pt x="251" y="92"/>
                  </a:lnTo>
                  <a:lnTo>
                    <a:pt x="248" y="92"/>
                  </a:lnTo>
                  <a:lnTo>
                    <a:pt x="245" y="95"/>
                  </a:lnTo>
                  <a:lnTo>
                    <a:pt x="242" y="95"/>
                  </a:lnTo>
                  <a:close/>
                  <a:moveTo>
                    <a:pt x="0" y="27"/>
                  </a:moveTo>
                  <a:lnTo>
                    <a:pt x="3" y="21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3"/>
                  </a:lnTo>
                  <a:lnTo>
                    <a:pt x="24" y="3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6" y="12"/>
                  </a:lnTo>
                  <a:lnTo>
                    <a:pt x="24" y="15"/>
                  </a:lnTo>
                  <a:lnTo>
                    <a:pt x="24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6" y="24"/>
                  </a:lnTo>
                  <a:lnTo>
                    <a:pt x="24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9" y="33"/>
                  </a:lnTo>
                  <a:lnTo>
                    <a:pt x="6" y="30"/>
                  </a:lnTo>
                  <a:lnTo>
                    <a:pt x="3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Freeform 149"/>
            <p:cNvSpPr>
              <a:spLocks/>
            </p:cNvSpPr>
            <p:nvPr/>
          </p:nvSpPr>
          <p:spPr bwMode="gray">
            <a:xfrm>
              <a:off x="8304695" y="1400908"/>
              <a:ext cx="2478" cy="2130"/>
            </a:xfrm>
            <a:custGeom>
              <a:avLst/>
              <a:gdLst>
                <a:gd name="T0" fmla="*/ 12 w 15"/>
                <a:gd name="T1" fmla="*/ 9 h 12"/>
                <a:gd name="T2" fmla="*/ 9 w 15"/>
                <a:gd name="T3" fmla="*/ 9 h 12"/>
                <a:gd name="T4" fmla="*/ 6 w 15"/>
                <a:gd name="T5" fmla="*/ 12 h 12"/>
                <a:gd name="T6" fmla="*/ 0 w 15"/>
                <a:gd name="T7" fmla="*/ 6 h 12"/>
                <a:gd name="T8" fmla="*/ 0 w 15"/>
                <a:gd name="T9" fmla="*/ 3 h 12"/>
                <a:gd name="T10" fmla="*/ 3 w 15"/>
                <a:gd name="T11" fmla="*/ 0 h 12"/>
                <a:gd name="T12" fmla="*/ 9 w 15"/>
                <a:gd name="T13" fmla="*/ 0 h 12"/>
                <a:gd name="T14" fmla="*/ 15 w 15"/>
                <a:gd name="T15" fmla="*/ 0 h 12"/>
                <a:gd name="T16" fmla="*/ 15 w 15"/>
                <a:gd name="T17" fmla="*/ 3 h 12"/>
                <a:gd name="T18" fmla="*/ 15 w 15"/>
                <a:gd name="T19" fmla="*/ 6 h 12"/>
                <a:gd name="T20" fmla="*/ 12 w 15"/>
                <a:gd name="T21" fmla="*/ 9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2"/>
                <a:gd name="T35" fmla="*/ 15 w 15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2">
                  <a:moveTo>
                    <a:pt x="12" y="9"/>
                  </a:moveTo>
                  <a:lnTo>
                    <a:pt x="9" y="9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Freeform 15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8265206" y="1679544"/>
              <a:ext cx="136147" cy="113052"/>
            </a:xfrm>
            <a:custGeom>
              <a:avLst/>
              <a:gdLst>
                <a:gd name="T0" fmla="*/ 0 w 824"/>
                <a:gd name="T1" fmla="*/ 529 h 637"/>
                <a:gd name="T2" fmla="*/ 3 w 824"/>
                <a:gd name="T3" fmla="*/ 529 h 637"/>
                <a:gd name="T4" fmla="*/ 6 w 824"/>
                <a:gd name="T5" fmla="*/ 529 h 637"/>
                <a:gd name="T6" fmla="*/ 9 w 824"/>
                <a:gd name="T7" fmla="*/ 529 h 637"/>
                <a:gd name="T8" fmla="*/ 9 w 824"/>
                <a:gd name="T9" fmla="*/ 532 h 637"/>
                <a:gd name="T10" fmla="*/ 6 w 824"/>
                <a:gd name="T11" fmla="*/ 532 h 637"/>
                <a:gd name="T12" fmla="*/ 3 w 824"/>
                <a:gd name="T13" fmla="*/ 535 h 637"/>
                <a:gd name="T14" fmla="*/ 3 w 824"/>
                <a:gd name="T15" fmla="*/ 532 h 637"/>
                <a:gd name="T16" fmla="*/ 0 w 824"/>
                <a:gd name="T17" fmla="*/ 529 h 637"/>
                <a:gd name="T18" fmla="*/ 818 w 824"/>
                <a:gd name="T19" fmla="*/ 11 h 637"/>
                <a:gd name="T20" fmla="*/ 812 w 824"/>
                <a:gd name="T21" fmla="*/ 11 h 637"/>
                <a:gd name="T22" fmla="*/ 810 w 824"/>
                <a:gd name="T23" fmla="*/ 9 h 637"/>
                <a:gd name="T24" fmla="*/ 810 w 824"/>
                <a:gd name="T25" fmla="*/ 6 h 637"/>
                <a:gd name="T26" fmla="*/ 807 w 824"/>
                <a:gd name="T27" fmla="*/ 3 h 637"/>
                <a:gd name="T28" fmla="*/ 810 w 824"/>
                <a:gd name="T29" fmla="*/ 0 h 637"/>
                <a:gd name="T30" fmla="*/ 815 w 824"/>
                <a:gd name="T31" fmla="*/ 3 h 637"/>
                <a:gd name="T32" fmla="*/ 818 w 824"/>
                <a:gd name="T33" fmla="*/ 3 h 637"/>
                <a:gd name="T34" fmla="*/ 818 w 824"/>
                <a:gd name="T35" fmla="*/ 6 h 637"/>
                <a:gd name="T36" fmla="*/ 821 w 824"/>
                <a:gd name="T37" fmla="*/ 6 h 637"/>
                <a:gd name="T38" fmla="*/ 824 w 824"/>
                <a:gd name="T39" fmla="*/ 6 h 637"/>
                <a:gd name="T40" fmla="*/ 821 w 824"/>
                <a:gd name="T41" fmla="*/ 9 h 637"/>
                <a:gd name="T42" fmla="*/ 821 w 824"/>
                <a:gd name="T43" fmla="*/ 11 h 637"/>
                <a:gd name="T44" fmla="*/ 818 w 824"/>
                <a:gd name="T45" fmla="*/ 11 h 637"/>
                <a:gd name="T46" fmla="*/ 530 w 824"/>
                <a:gd name="T47" fmla="*/ 637 h 637"/>
                <a:gd name="T48" fmla="*/ 527 w 824"/>
                <a:gd name="T49" fmla="*/ 634 h 637"/>
                <a:gd name="T50" fmla="*/ 521 w 824"/>
                <a:gd name="T51" fmla="*/ 637 h 637"/>
                <a:gd name="T52" fmla="*/ 518 w 824"/>
                <a:gd name="T53" fmla="*/ 634 h 637"/>
                <a:gd name="T54" fmla="*/ 515 w 824"/>
                <a:gd name="T55" fmla="*/ 634 h 637"/>
                <a:gd name="T56" fmla="*/ 512 w 824"/>
                <a:gd name="T57" fmla="*/ 631 h 637"/>
                <a:gd name="T58" fmla="*/ 515 w 824"/>
                <a:gd name="T59" fmla="*/ 628 h 637"/>
                <a:gd name="T60" fmla="*/ 518 w 824"/>
                <a:gd name="T61" fmla="*/ 625 h 637"/>
                <a:gd name="T62" fmla="*/ 518 w 824"/>
                <a:gd name="T63" fmla="*/ 622 h 637"/>
                <a:gd name="T64" fmla="*/ 521 w 824"/>
                <a:gd name="T65" fmla="*/ 625 h 637"/>
                <a:gd name="T66" fmla="*/ 524 w 824"/>
                <a:gd name="T67" fmla="*/ 625 h 637"/>
                <a:gd name="T68" fmla="*/ 530 w 824"/>
                <a:gd name="T69" fmla="*/ 622 h 637"/>
                <a:gd name="T70" fmla="*/ 530 w 824"/>
                <a:gd name="T71" fmla="*/ 625 h 637"/>
                <a:gd name="T72" fmla="*/ 530 w 824"/>
                <a:gd name="T73" fmla="*/ 631 h 637"/>
                <a:gd name="T74" fmla="*/ 530 w 824"/>
                <a:gd name="T75" fmla="*/ 634 h 637"/>
                <a:gd name="T76" fmla="*/ 530 w 824"/>
                <a:gd name="T77" fmla="*/ 637 h 637"/>
                <a:gd name="T78" fmla="*/ 524 w 824"/>
                <a:gd name="T79" fmla="*/ 532 h 637"/>
                <a:gd name="T80" fmla="*/ 515 w 824"/>
                <a:gd name="T81" fmla="*/ 532 h 637"/>
                <a:gd name="T82" fmla="*/ 512 w 824"/>
                <a:gd name="T83" fmla="*/ 529 h 637"/>
                <a:gd name="T84" fmla="*/ 512 w 824"/>
                <a:gd name="T85" fmla="*/ 526 h 637"/>
                <a:gd name="T86" fmla="*/ 512 w 824"/>
                <a:gd name="T87" fmla="*/ 523 h 637"/>
                <a:gd name="T88" fmla="*/ 509 w 824"/>
                <a:gd name="T89" fmla="*/ 521 h 637"/>
                <a:gd name="T90" fmla="*/ 506 w 824"/>
                <a:gd name="T91" fmla="*/ 518 h 637"/>
                <a:gd name="T92" fmla="*/ 506 w 824"/>
                <a:gd name="T93" fmla="*/ 515 h 637"/>
                <a:gd name="T94" fmla="*/ 509 w 824"/>
                <a:gd name="T95" fmla="*/ 515 h 637"/>
                <a:gd name="T96" fmla="*/ 512 w 824"/>
                <a:gd name="T97" fmla="*/ 518 h 637"/>
                <a:gd name="T98" fmla="*/ 515 w 824"/>
                <a:gd name="T99" fmla="*/ 518 h 637"/>
                <a:gd name="T100" fmla="*/ 518 w 824"/>
                <a:gd name="T101" fmla="*/ 518 h 637"/>
                <a:gd name="T102" fmla="*/ 518 w 824"/>
                <a:gd name="T103" fmla="*/ 521 h 637"/>
                <a:gd name="T104" fmla="*/ 521 w 824"/>
                <a:gd name="T105" fmla="*/ 523 h 637"/>
                <a:gd name="T106" fmla="*/ 524 w 824"/>
                <a:gd name="T107" fmla="*/ 521 h 637"/>
                <a:gd name="T108" fmla="*/ 527 w 824"/>
                <a:gd name="T109" fmla="*/ 518 h 637"/>
                <a:gd name="T110" fmla="*/ 530 w 824"/>
                <a:gd name="T111" fmla="*/ 518 h 637"/>
                <a:gd name="T112" fmla="*/ 527 w 824"/>
                <a:gd name="T113" fmla="*/ 521 h 637"/>
                <a:gd name="T114" fmla="*/ 527 w 824"/>
                <a:gd name="T115" fmla="*/ 523 h 637"/>
                <a:gd name="T116" fmla="*/ 527 w 824"/>
                <a:gd name="T117" fmla="*/ 526 h 637"/>
                <a:gd name="T118" fmla="*/ 524 w 824"/>
                <a:gd name="T119" fmla="*/ 529 h 637"/>
                <a:gd name="T120" fmla="*/ 524 w 824"/>
                <a:gd name="T121" fmla="*/ 532 h 6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4"/>
                <a:gd name="T184" fmla="*/ 0 h 637"/>
                <a:gd name="T185" fmla="*/ 824 w 824"/>
                <a:gd name="T186" fmla="*/ 637 h 6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4" h="637">
                  <a:moveTo>
                    <a:pt x="0" y="529"/>
                  </a:moveTo>
                  <a:lnTo>
                    <a:pt x="3" y="529"/>
                  </a:lnTo>
                  <a:lnTo>
                    <a:pt x="6" y="529"/>
                  </a:lnTo>
                  <a:lnTo>
                    <a:pt x="9" y="529"/>
                  </a:lnTo>
                  <a:lnTo>
                    <a:pt x="9" y="532"/>
                  </a:lnTo>
                  <a:lnTo>
                    <a:pt x="6" y="532"/>
                  </a:lnTo>
                  <a:lnTo>
                    <a:pt x="3" y="535"/>
                  </a:lnTo>
                  <a:lnTo>
                    <a:pt x="3" y="532"/>
                  </a:lnTo>
                  <a:lnTo>
                    <a:pt x="0" y="529"/>
                  </a:lnTo>
                  <a:close/>
                  <a:moveTo>
                    <a:pt x="818" y="11"/>
                  </a:moveTo>
                  <a:lnTo>
                    <a:pt x="812" y="11"/>
                  </a:lnTo>
                  <a:lnTo>
                    <a:pt x="810" y="9"/>
                  </a:lnTo>
                  <a:lnTo>
                    <a:pt x="810" y="6"/>
                  </a:lnTo>
                  <a:lnTo>
                    <a:pt x="807" y="3"/>
                  </a:lnTo>
                  <a:lnTo>
                    <a:pt x="810" y="0"/>
                  </a:lnTo>
                  <a:lnTo>
                    <a:pt x="815" y="3"/>
                  </a:lnTo>
                  <a:lnTo>
                    <a:pt x="818" y="3"/>
                  </a:lnTo>
                  <a:lnTo>
                    <a:pt x="818" y="6"/>
                  </a:lnTo>
                  <a:lnTo>
                    <a:pt x="821" y="6"/>
                  </a:lnTo>
                  <a:lnTo>
                    <a:pt x="824" y="6"/>
                  </a:lnTo>
                  <a:lnTo>
                    <a:pt x="821" y="9"/>
                  </a:lnTo>
                  <a:lnTo>
                    <a:pt x="821" y="11"/>
                  </a:lnTo>
                  <a:lnTo>
                    <a:pt x="818" y="11"/>
                  </a:lnTo>
                  <a:close/>
                  <a:moveTo>
                    <a:pt x="530" y="637"/>
                  </a:moveTo>
                  <a:lnTo>
                    <a:pt x="527" y="634"/>
                  </a:lnTo>
                  <a:lnTo>
                    <a:pt x="521" y="637"/>
                  </a:lnTo>
                  <a:lnTo>
                    <a:pt x="518" y="634"/>
                  </a:lnTo>
                  <a:lnTo>
                    <a:pt x="515" y="634"/>
                  </a:lnTo>
                  <a:lnTo>
                    <a:pt x="512" y="631"/>
                  </a:lnTo>
                  <a:lnTo>
                    <a:pt x="515" y="628"/>
                  </a:lnTo>
                  <a:lnTo>
                    <a:pt x="518" y="625"/>
                  </a:lnTo>
                  <a:lnTo>
                    <a:pt x="518" y="622"/>
                  </a:lnTo>
                  <a:lnTo>
                    <a:pt x="521" y="625"/>
                  </a:lnTo>
                  <a:lnTo>
                    <a:pt x="524" y="625"/>
                  </a:lnTo>
                  <a:lnTo>
                    <a:pt x="530" y="622"/>
                  </a:lnTo>
                  <a:lnTo>
                    <a:pt x="530" y="625"/>
                  </a:lnTo>
                  <a:lnTo>
                    <a:pt x="530" y="631"/>
                  </a:lnTo>
                  <a:lnTo>
                    <a:pt x="530" y="634"/>
                  </a:lnTo>
                  <a:lnTo>
                    <a:pt x="530" y="637"/>
                  </a:lnTo>
                  <a:close/>
                  <a:moveTo>
                    <a:pt x="524" y="532"/>
                  </a:moveTo>
                  <a:lnTo>
                    <a:pt x="515" y="532"/>
                  </a:lnTo>
                  <a:lnTo>
                    <a:pt x="512" y="529"/>
                  </a:lnTo>
                  <a:lnTo>
                    <a:pt x="512" y="526"/>
                  </a:lnTo>
                  <a:lnTo>
                    <a:pt x="512" y="523"/>
                  </a:lnTo>
                  <a:lnTo>
                    <a:pt x="509" y="521"/>
                  </a:lnTo>
                  <a:lnTo>
                    <a:pt x="506" y="518"/>
                  </a:lnTo>
                  <a:lnTo>
                    <a:pt x="506" y="515"/>
                  </a:lnTo>
                  <a:lnTo>
                    <a:pt x="509" y="515"/>
                  </a:lnTo>
                  <a:lnTo>
                    <a:pt x="512" y="518"/>
                  </a:lnTo>
                  <a:lnTo>
                    <a:pt x="515" y="518"/>
                  </a:lnTo>
                  <a:lnTo>
                    <a:pt x="518" y="518"/>
                  </a:lnTo>
                  <a:lnTo>
                    <a:pt x="518" y="521"/>
                  </a:lnTo>
                  <a:lnTo>
                    <a:pt x="521" y="523"/>
                  </a:lnTo>
                  <a:lnTo>
                    <a:pt x="524" y="521"/>
                  </a:lnTo>
                  <a:lnTo>
                    <a:pt x="527" y="518"/>
                  </a:lnTo>
                  <a:lnTo>
                    <a:pt x="530" y="518"/>
                  </a:lnTo>
                  <a:lnTo>
                    <a:pt x="527" y="521"/>
                  </a:lnTo>
                  <a:lnTo>
                    <a:pt x="527" y="523"/>
                  </a:lnTo>
                  <a:lnTo>
                    <a:pt x="527" y="526"/>
                  </a:lnTo>
                  <a:lnTo>
                    <a:pt x="524" y="529"/>
                  </a:lnTo>
                  <a:lnTo>
                    <a:pt x="524" y="532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algn="ctr"/>
              <a:endParaRPr lang="en-GB" sz="1292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3" y="324308"/>
            <a:ext cx="8718491" cy="831600"/>
          </a:xfrm>
        </p:spPr>
        <p:txBody>
          <a:bodyPr/>
          <a:lstStyle/>
          <a:p>
            <a:r>
              <a:rPr lang="en-IN" dirty="0" smtClean="0"/>
              <a:t>Online processing </a:t>
            </a:r>
            <a:r>
              <a:rPr lang="en-IN" dirty="0"/>
              <a:t>and </a:t>
            </a:r>
            <a:r>
              <a:rPr lang="en-IN" dirty="0" smtClean="0"/>
              <a:t>management of </a:t>
            </a:r>
            <a:r>
              <a:rPr lang="en-IN" dirty="0"/>
              <a:t>tax </a:t>
            </a:r>
            <a:r>
              <a:rPr lang="en-IN" dirty="0" smtClean="0"/>
              <a:t>returns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1986812" y="2005856"/>
            <a:ext cx="2459077" cy="4385277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chemeClr val="hlink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51642" y="2113638"/>
            <a:ext cx="2308237" cy="400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2011399" y="2548540"/>
            <a:ext cx="2361464" cy="327036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</a:pPr>
            <a:r>
              <a:rPr lang="en-IN" sz="1300" b="1" dirty="0">
                <a:solidFill>
                  <a:srgbClr val="000000"/>
                </a:solidFill>
                <a:cs typeface="Arial" pitchFamily="34" charset="0"/>
              </a:rPr>
              <a:t>Aspiration to create a comprehensive automated and online system for TDS reconciliation, analysis &amp; correction enabling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Highly complex and vast scope encompassing a wide range of activitie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Low productivity and efficiency of current returns processing system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866227" y="2005857"/>
            <a:ext cx="2568747" cy="4385277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79A2B3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30537" y="2113638"/>
            <a:ext cx="2308237" cy="400962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83077" rIns="9969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Solu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593700" y="2005855"/>
            <a:ext cx="2605125" cy="4385276"/>
          </a:xfrm>
          <a:prstGeom prst="roundRect">
            <a:avLst>
              <a:gd name="adj" fmla="val 4386"/>
            </a:avLst>
          </a:prstGeom>
          <a:solidFill>
            <a:schemeClr val="bg1"/>
          </a:solidFill>
          <a:ln w="38100">
            <a:solidFill>
              <a:srgbClr val="0036A2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endParaRPr lang="en-GB" sz="1292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536274" y="2113638"/>
            <a:ext cx="2381261" cy="400962"/>
          </a:xfrm>
          <a:prstGeom prst="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r>
              <a:rPr lang="en-US" sz="1477" b="1" dirty="0">
                <a:solidFill>
                  <a:srgbClr val="FFFFFF"/>
                </a:solidFill>
                <a:cs typeface="Arial" pitchFamily="34" charset="0"/>
              </a:rPr>
              <a:t>Impact</a:t>
            </a: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1948965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overnment</a:t>
            </a:r>
          </a:p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dirty="0">
                <a:solidFill>
                  <a:srgbClr val="FFFFFF"/>
                </a:solidFill>
                <a:cs typeface="Arial" pitchFamily="34" charset="0"/>
              </a:rPr>
              <a:t>(E-Governance)</a:t>
            </a:r>
          </a:p>
        </p:txBody>
      </p: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4827859" y="1230258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7706754" y="1189917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4827856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Vertical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7706750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Geo</a:t>
            </a:r>
          </a:p>
        </p:txBody>
      </p:sp>
      <p:sp>
        <p:nvSpPr>
          <p:cNvPr id="71" name="TextColumnContent"/>
          <p:cNvSpPr>
            <a:spLocks noChangeArrowheads="1"/>
          </p:cNvSpPr>
          <p:nvPr/>
        </p:nvSpPr>
        <p:spPr bwMode="gray">
          <a:xfrm>
            <a:off x="1948960" y="1230258"/>
            <a:ext cx="764308" cy="631385"/>
          </a:xfrm>
          <a:prstGeom prst="roundRect">
            <a:avLst>
              <a:gd name="adj" fmla="val 47169"/>
            </a:avLst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Clien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807740" y="1362430"/>
            <a:ext cx="926132" cy="3077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dist="17780" dir="2700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en-US" sz="1292" b="1" dirty="0">
                <a:solidFill>
                  <a:srgbClr val="FFFFFF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25" name="TextColumnContent"/>
          <p:cNvSpPr>
            <a:spLocks noChangeArrowheads="1"/>
          </p:cNvSpPr>
          <p:nvPr/>
        </p:nvSpPr>
        <p:spPr bwMode="gray">
          <a:xfrm>
            <a:off x="1948963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99692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Ministry of Finance, Government of India</a:t>
            </a:r>
          </a:p>
        </p:txBody>
      </p:sp>
      <p:sp>
        <p:nvSpPr>
          <p:cNvPr id="126" name="TextColumnContent"/>
          <p:cNvSpPr>
            <a:spLocks noChangeArrowheads="1"/>
          </p:cNvSpPr>
          <p:nvPr/>
        </p:nvSpPr>
        <p:spPr bwMode="gray">
          <a:xfrm>
            <a:off x="4827858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 algn="ctr">
            <a:solidFill>
              <a:srgbClr val="DC6E0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42203" tIns="25322" rIns="42203" bIns="25322" anchor="ctr"/>
          <a:lstStyle/>
          <a:p>
            <a:pPr marL="499709" algn="ctr" fontAlgn="base">
              <a:buClr>
                <a:srgbClr val="000000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cs typeface="Arial" pitchFamily="34" charset="0"/>
              </a:rPr>
              <a:t>Government</a:t>
            </a:r>
          </a:p>
        </p:txBody>
      </p: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7706752" y="1223562"/>
            <a:ext cx="2540325" cy="631385"/>
          </a:xfrm>
          <a:prstGeom prst="roundRect">
            <a:avLst>
              <a:gd name="adj" fmla="val 47169"/>
            </a:avLst>
          </a:prstGeom>
          <a:noFill/>
          <a:ln w="38100">
            <a:solidFill>
              <a:srgbClr val="DC6E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2" tIns="83077" rIns="83077" bIns="83077" rtlCol="0" anchor="ctr" anchorCtr="1"/>
          <a:lstStyle/>
          <a:p>
            <a:pPr algn="ctr" fontAlgn="base">
              <a:buClr>
                <a:srgbClr val="000000"/>
              </a:buClr>
              <a:buSzPct val="100000"/>
              <a:buFont typeface=""/>
              <a:buNone/>
            </a:pPr>
            <a:endParaRPr lang="en-US" sz="1292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4866224" y="2548540"/>
            <a:ext cx="2543150" cy="327036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buClr>
                <a:srgbClr val="FFFFFF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</a:rPr>
              <a:t>Web-based TDS Reconciliation, Analysis &amp; Correction Enabling System (TRACES)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Enabled complete reconciliation of collection and claim of tax deduction at source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Solution supports end-to-end 'Anytime-Anywhere' access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r>
              <a:rPr lang="en-IN" sz="1300" dirty="0">
                <a:solidFill>
                  <a:srgbClr val="000000"/>
                </a:solidFill>
                <a:cs typeface="Arial" pitchFamily="34" charset="0"/>
              </a:rPr>
              <a:t>Complete ownership of training and knowledge management solution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Supported identification of non core activities for outsourcing</a:t>
            </a:r>
          </a:p>
          <a:p>
            <a:pPr marL="288925" lvl="1" indent="-288925" fontAlgn="base">
              <a:spcBef>
                <a:spcPct val="0"/>
              </a:spcBef>
              <a:spcAft>
                <a:spcPct val="0"/>
              </a:spcAft>
              <a:buClr>
                <a:srgbClr val="79A2B3">
                  <a:lumMod val="75000"/>
                </a:srgbClr>
              </a:buClr>
              <a:buSzPct val="100000"/>
              <a:buFont typeface="Arial" pitchFamily="34" charset="0"/>
              <a:buChar char="►"/>
            </a:pPr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  <a:p>
            <a:pPr marL="266707" lvl="1" indent="-161196" fontAlgn="base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</a:endParaRPr>
          </a:p>
        </p:txBody>
      </p:sp>
      <p:sp>
        <p:nvSpPr>
          <p:cNvPr id="464" name="Rectangle 463"/>
          <p:cNvSpPr/>
          <p:nvPr/>
        </p:nvSpPr>
        <p:spPr>
          <a:xfrm>
            <a:off x="8047848" y="2548540"/>
            <a:ext cx="2142970" cy="32703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16615" bIns="33231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More than 95 per cent ITRs processed with no TDS mismatch within 3 days of receipt of TD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US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More than 250 Mn digital TDS certificates downloaded since FY 1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Substantial reduction in processing time – from </a:t>
            </a:r>
            <a:br>
              <a:rPr lang="en-IN" sz="1292" b="1" dirty="0">
                <a:solidFill>
                  <a:srgbClr val="000000"/>
                </a:solidFill>
                <a:cs typeface="Arial" pitchFamily="34" charset="0"/>
              </a:rPr>
            </a:b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1 year to 3 day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r>
              <a:rPr lang="en-IN" sz="1292" b="1" dirty="0">
                <a:solidFill>
                  <a:srgbClr val="000000"/>
                </a:solidFill>
                <a:cs typeface="Arial" pitchFamily="34" charset="0"/>
              </a:rPr>
              <a:t>~100% growth in revenue from  FY2011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6A2"/>
              </a:buClr>
              <a:buSzPct val="100000"/>
            </a:pPr>
            <a:endParaRPr lang="en-IN" sz="1292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0" name="Freeform 45"/>
          <p:cNvSpPr>
            <a:spLocks noEditPoints="1"/>
          </p:cNvSpPr>
          <p:nvPr/>
        </p:nvSpPr>
        <p:spPr bwMode="auto">
          <a:xfrm>
            <a:off x="7699470" y="4532704"/>
            <a:ext cx="202586" cy="202586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0" y="52"/>
              </a:cxn>
              <a:cxn ang="0">
                <a:pos x="52" y="105"/>
              </a:cxn>
              <a:cxn ang="0">
                <a:pos x="105" y="52"/>
              </a:cxn>
              <a:cxn ang="0">
                <a:pos x="52" y="0"/>
              </a:cxn>
              <a:cxn ang="0">
                <a:pos x="52" y="89"/>
              </a:cxn>
              <a:cxn ang="0">
                <a:pos x="16" y="52"/>
              </a:cxn>
              <a:cxn ang="0">
                <a:pos x="52" y="16"/>
              </a:cxn>
              <a:cxn ang="0">
                <a:pos x="89" y="52"/>
              </a:cxn>
              <a:cxn ang="0">
                <a:pos x="52" y="89"/>
              </a:cxn>
              <a:cxn ang="0">
                <a:pos x="57" y="50"/>
              </a:cxn>
              <a:cxn ang="0">
                <a:pos x="57" y="25"/>
              </a:cxn>
              <a:cxn ang="0">
                <a:pos x="52" y="20"/>
              </a:cxn>
              <a:cxn ang="0">
                <a:pos x="48" y="25"/>
              </a:cxn>
              <a:cxn ang="0">
                <a:pos x="48" y="54"/>
              </a:cxn>
              <a:cxn ang="0">
                <a:pos x="62" y="68"/>
              </a:cxn>
              <a:cxn ang="0">
                <a:pos x="65" y="70"/>
              </a:cxn>
              <a:cxn ang="0">
                <a:pos x="68" y="69"/>
              </a:cxn>
              <a:cxn ang="0">
                <a:pos x="68" y="62"/>
              </a:cxn>
              <a:cxn ang="0">
                <a:pos x="57" y="50"/>
              </a:cxn>
            </a:cxnLst>
            <a:rect l="0" t="0" r="r" b="b"/>
            <a:pathLst>
              <a:path w="105" h="105">
                <a:moveTo>
                  <a:pt x="52" y="0"/>
                </a:moveTo>
                <a:cubicBezTo>
                  <a:pt x="23" y="0"/>
                  <a:pt x="0" y="23"/>
                  <a:pt x="0" y="52"/>
                </a:cubicBezTo>
                <a:cubicBezTo>
                  <a:pt x="0" y="81"/>
                  <a:pt x="23" y="105"/>
                  <a:pt x="52" y="105"/>
                </a:cubicBezTo>
                <a:cubicBezTo>
                  <a:pt x="81" y="105"/>
                  <a:pt x="105" y="81"/>
                  <a:pt x="105" y="52"/>
                </a:cubicBezTo>
                <a:cubicBezTo>
                  <a:pt x="105" y="23"/>
                  <a:pt x="81" y="0"/>
                  <a:pt x="52" y="0"/>
                </a:cubicBezTo>
                <a:close/>
                <a:moveTo>
                  <a:pt x="52" y="89"/>
                </a:moveTo>
                <a:cubicBezTo>
                  <a:pt x="32" y="89"/>
                  <a:pt x="16" y="72"/>
                  <a:pt x="16" y="52"/>
                </a:cubicBezTo>
                <a:cubicBezTo>
                  <a:pt x="16" y="32"/>
                  <a:pt x="32" y="16"/>
                  <a:pt x="52" y="16"/>
                </a:cubicBezTo>
                <a:cubicBezTo>
                  <a:pt x="72" y="16"/>
                  <a:pt x="89" y="32"/>
                  <a:pt x="89" y="52"/>
                </a:cubicBezTo>
                <a:cubicBezTo>
                  <a:pt x="89" y="72"/>
                  <a:pt x="72" y="89"/>
                  <a:pt x="52" y="89"/>
                </a:cubicBezTo>
                <a:close/>
                <a:moveTo>
                  <a:pt x="57" y="50"/>
                </a:moveTo>
                <a:cubicBezTo>
                  <a:pt x="57" y="25"/>
                  <a:pt x="57" y="25"/>
                  <a:pt x="57" y="25"/>
                </a:cubicBezTo>
                <a:cubicBezTo>
                  <a:pt x="57" y="22"/>
                  <a:pt x="55" y="20"/>
                  <a:pt x="52" y="20"/>
                </a:cubicBezTo>
                <a:cubicBezTo>
                  <a:pt x="50" y="20"/>
                  <a:pt x="48" y="22"/>
                  <a:pt x="48" y="25"/>
                </a:cubicBezTo>
                <a:cubicBezTo>
                  <a:pt x="48" y="54"/>
                  <a:pt x="48" y="54"/>
                  <a:pt x="48" y="54"/>
                </a:cubicBezTo>
                <a:cubicBezTo>
                  <a:pt x="62" y="68"/>
                  <a:pt x="62" y="68"/>
                  <a:pt x="62" y="68"/>
                </a:cubicBezTo>
                <a:cubicBezTo>
                  <a:pt x="63" y="69"/>
                  <a:pt x="64" y="70"/>
                  <a:pt x="65" y="70"/>
                </a:cubicBezTo>
                <a:cubicBezTo>
                  <a:pt x="66" y="70"/>
                  <a:pt x="67" y="69"/>
                  <a:pt x="68" y="69"/>
                </a:cubicBezTo>
                <a:cubicBezTo>
                  <a:pt x="70" y="67"/>
                  <a:pt x="70" y="64"/>
                  <a:pt x="68" y="62"/>
                </a:cubicBezTo>
                <a:lnTo>
                  <a:pt x="57" y="50"/>
                </a:lnTo>
                <a:close/>
              </a:path>
            </a:pathLst>
          </a:custGeom>
          <a:solidFill>
            <a:srgbClr val="DCC0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 dirty="0">
              <a:solidFill>
                <a:srgbClr val="000000"/>
              </a:solidFill>
            </a:endParaRPr>
          </a:p>
        </p:txBody>
      </p:sp>
      <p:pic>
        <p:nvPicPr>
          <p:cNvPr id="74" name="Picture 3" descr="C:\Users\Ranjan Rakesh\Pictures\to delete\photo_1409052359_temp.jpg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10790760" y="1253506"/>
            <a:ext cx="1209402" cy="368789"/>
          </a:xfrm>
          <a:prstGeom prst="rect">
            <a:avLst/>
          </a:prstGeom>
          <a:noFill/>
        </p:spPr>
      </p:pic>
      <p:sp>
        <p:nvSpPr>
          <p:cNvPr id="73" name="Freeform 248"/>
          <p:cNvSpPr>
            <a:spLocks noChangeAspect="1" noEditPoints="1"/>
          </p:cNvSpPr>
          <p:nvPr/>
        </p:nvSpPr>
        <p:spPr bwMode="auto">
          <a:xfrm>
            <a:off x="7699471" y="3657600"/>
            <a:ext cx="228889" cy="230788"/>
          </a:xfrm>
          <a:custGeom>
            <a:avLst/>
            <a:gdLst/>
            <a:ahLst/>
            <a:cxnLst>
              <a:cxn ang="0">
                <a:pos x="32" y="37"/>
              </a:cxn>
              <a:cxn ang="0">
                <a:pos x="37" y="35"/>
              </a:cxn>
              <a:cxn ang="0">
                <a:pos x="50" y="43"/>
              </a:cxn>
              <a:cxn ang="0">
                <a:pos x="50" y="44"/>
              </a:cxn>
              <a:cxn ang="0">
                <a:pos x="59" y="52"/>
              </a:cxn>
              <a:cxn ang="0">
                <a:pos x="67" y="44"/>
              </a:cxn>
              <a:cxn ang="0">
                <a:pos x="67" y="41"/>
              </a:cxn>
              <a:cxn ang="0">
                <a:pos x="82" y="24"/>
              </a:cxn>
              <a:cxn ang="0">
                <a:pos x="91" y="32"/>
              </a:cxn>
              <a:cxn ang="0">
                <a:pos x="97" y="3"/>
              </a:cxn>
              <a:cxn ang="0">
                <a:pos x="68" y="12"/>
              </a:cxn>
              <a:cxn ang="0">
                <a:pos x="77" y="19"/>
              </a:cxn>
              <a:cxn ang="0">
                <a:pos x="61" y="36"/>
              </a:cxn>
              <a:cxn ang="0">
                <a:pos x="59" y="36"/>
              </a:cxn>
              <a:cxn ang="0">
                <a:pos x="54" y="37"/>
              </a:cxn>
              <a:cxn ang="0">
                <a:pos x="40" y="29"/>
              </a:cxn>
              <a:cxn ang="0">
                <a:pos x="40" y="28"/>
              </a:cxn>
              <a:cxn ang="0">
                <a:pos x="32" y="20"/>
              </a:cxn>
              <a:cxn ang="0">
                <a:pos x="24" y="28"/>
              </a:cxn>
              <a:cxn ang="0">
                <a:pos x="24" y="31"/>
              </a:cxn>
              <a:cxn ang="0">
                <a:pos x="13" y="41"/>
              </a:cxn>
              <a:cxn ang="0">
                <a:pos x="13" y="51"/>
              </a:cxn>
              <a:cxn ang="0">
                <a:pos x="29" y="36"/>
              </a:cxn>
              <a:cxn ang="0">
                <a:pos x="32" y="37"/>
              </a:cxn>
              <a:cxn ang="0">
                <a:pos x="32" y="67"/>
              </a:cxn>
              <a:cxn ang="0">
                <a:pos x="38" y="64"/>
              </a:cxn>
              <a:cxn ang="0">
                <a:pos x="62" y="73"/>
              </a:cxn>
              <a:cxn ang="0">
                <a:pos x="70" y="81"/>
              </a:cxn>
              <a:cxn ang="0">
                <a:pos x="79" y="73"/>
              </a:cxn>
              <a:cxn ang="0">
                <a:pos x="78" y="69"/>
              </a:cxn>
              <a:cxn ang="0">
                <a:pos x="92" y="53"/>
              </a:cxn>
              <a:cxn ang="0">
                <a:pos x="98" y="57"/>
              </a:cxn>
              <a:cxn ang="0">
                <a:pos x="100" y="37"/>
              </a:cxn>
              <a:cxn ang="0">
                <a:pos x="82" y="45"/>
              </a:cxn>
              <a:cxn ang="0">
                <a:pos x="86" y="49"/>
              </a:cxn>
              <a:cxn ang="0">
                <a:pos x="73" y="64"/>
              </a:cxn>
              <a:cxn ang="0">
                <a:pos x="70" y="64"/>
              </a:cxn>
              <a:cxn ang="0">
                <a:pos x="65" y="66"/>
              </a:cxn>
              <a:cxn ang="0">
                <a:pos x="40" y="57"/>
              </a:cxn>
              <a:cxn ang="0">
                <a:pos x="32" y="50"/>
              </a:cxn>
              <a:cxn ang="0">
                <a:pos x="24" y="58"/>
              </a:cxn>
              <a:cxn ang="0">
                <a:pos x="24" y="59"/>
              </a:cxn>
              <a:cxn ang="0">
                <a:pos x="13" y="66"/>
              </a:cxn>
              <a:cxn ang="0">
                <a:pos x="13" y="75"/>
              </a:cxn>
              <a:cxn ang="0">
                <a:pos x="28" y="65"/>
              </a:cxn>
              <a:cxn ang="0">
                <a:pos x="32" y="67"/>
              </a:cxn>
              <a:cxn ang="0">
                <a:pos x="7" y="96"/>
              </a:cxn>
              <a:cxn ang="0">
                <a:pos x="7" y="96"/>
              </a:cxn>
              <a:cxn ang="0">
                <a:pos x="7" y="96"/>
              </a:cxn>
              <a:cxn ang="0">
                <a:pos x="7" y="0"/>
              </a:cxn>
              <a:cxn ang="0">
                <a:pos x="0" y="0"/>
              </a:cxn>
              <a:cxn ang="0">
                <a:pos x="0" y="103"/>
              </a:cxn>
              <a:cxn ang="0">
                <a:pos x="102" y="103"/>
              </a:cxn>
              <a:cxn ang="0">
                <a:pos x="102" y="96"/>
              </a:cxn>
              <a:cxn ang="0">
                <a:pos x="7" y="96"/>
              </a:cxn>
            </a:cxnLst>
            <a:rect l="0" t="0" r="r" b="b"/>
            <a:pathLst>
              <a:path w="102" h="103">
                <a:moveTo>
                  <a:pt x="32" y="37"/>
                </a:moveTo>
                <a:cubicBezTo>
                  <a:pt x="34" y="37"/>
                  <a:pt x="36" y="36"/>
                  <a:pt x="37" y="35"/>
                </a:cubicBezTo>
                <a:cubicBezTo>
                  <a:pt x="50" y="43"/>
                  <a:pt x="50" y="43"/>
                  <a:pt x="50" y="43"/>
                </a:cubicBezTo>
                <a:cubicBezTo>
                  <a:pt x="50" y="44"/>
                  <a:pt x="50" y="44"/>
                  <a:pt x="50" y="44"/>
                </a:cubicBezTo>
                <a:cubicBezTo>
                  <a:pt x="50" y="49"/>
                  <a:pt x="54" y="52"/>
                  <a:pt x="59" y="52"/>
                </a:cubicBezTo>
                <a:cubicBezTo>
                  <a:pt x="63" y="52"/>
                  <a:pt x="67" y="49"/>
                  <a:pt x="67" y="44"/>
                </a:cubicBezTo>
                <a:cubicBezTo>
                  <a:pt x="67" y="43"/>
                  <a:pt x="67" y="42"/>
                  <a:pt x="67" y="41"/>
                </a:cubicBezTo>
                <a:cubicBezTo>
                  <a:pt x="82" y="24"/>
                  <a:pt x="82" y="24"/>
                  <a:pt x="82" y="24"/>
                </a:cubicBezTo>
                <a:cubicBezTo>
                  <a:pt x="91" y="32"/>
                  <a:pt x="91" y="32"/>
                  <a:pt x="91" y="32"/>
                </a:cubicBezTo>
                <a:cubicBezTo>
                  <a:pt x="97" y="3"/>
                  <a:pt x="97" y="3"/>
                  <a:pt x="97" y="3"/>
                </a:cubicBezTo>
                <a:cubicBezTo>
                  <a:pt x="68" y="12"/>
                  <a:pt x="68" y="12"/>
                  <a:pt x="68" y="12"/>
                </a:cubicBezTo>
                <a:cubicBezTo>
                  <a:pt x="77" y="19"/>
                  <a:pt x="77" y="19"/>
                  <a:pt x="77" y="19"/>
                </a:cubicBezTo>
                <a:cubicBezTo>
                  <a:pt x="61" y="36"/>
                  <a:pt x="61" y="36"/>
                  <a:pt x="61" y="36"/>
                </a:cubicBezTo>
                <a:cubicBezTo>
                  <a:pt x="60" y="36"/>
                  <a:pt x="60" y="36"/>
                  <a:pt x="59" y="36"/>
                </a:cubicBezTo>
                <a:cubicBezTo>
                  <a:pt x="57" y="36"/>
                  <a:pt x="55" y="36"/>
                  <a:pt x="54" y="3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29"/>
                  <a:pt x="40" y="28"/>
                  <a:pt x="40" y="28"/>
                </a:cubicBezTo>
                <a:cubicBezTo>
                  <a:pt x="40" y="24"/>
                  <a:pt x="37" y="20"/>
                  <a:pt x="32" y="20"/>
                </a:cubicBezTo>
                <a:cubicBezTo>
                  <a:pt x="27" y="20"/>
                  <a:pt x="24" y="24"/>
                  <a:pt x="24" y="28"/>
                </a:cubicBezTo>
                <a:cubicBezTo>
                  <a:pt x="24" y="29"/>
                  <a:pt x="24" y="30"/>
                  <a:pt x="24" y="31"/>
                </a:cubicBezTo>
                <a:cubicBezTo>
                  <a:pt x="13" y="41"/>
                  <a:pt x="13" y="41"/>
                  <a:pt x="13" y="41"/>
                </a:cubicBezTo>
                <a:cubicBezTo>
                  <a:pt x="13" y="51"/>
                  <a:pt x="13" y="51"/>
                  <a:pt x="13" y="51"/>
                </a:cubicBezTo>
                <a:cubicBezTo>
                  <a:pt x="29" y="36"/>
                  <a:pt x="29" y="36"/>
                  <a:pt x="29" y="36"/>
                </a:cubicBezTo>
                <a:cubicBezTo>
                  <a:pt x="30" y="37"/>
                  <a:pt x="31" y="37"/>
                  <a:pt x="32" y="37"/>
                </a:cubicBezTo>
                <a:close/>
                <a:moveTo>
                  <a:pt x="32" y="67"/>
                </a:moveTo>
                <a:cubicBezTo>
                  <a:pt x="34" y="67"/>
                  <a:pt x="37" y="66"/>
                  <a:pt x="38" y="64"/>
                </a:cubicBezTo>
                <a:cubicBezTo>
                  <a:pt x="62" y="73"/>
                  <a:pt x="62" y="73"/>
                  <a:pt x="62" y="73"/>
                </a:cubicBezTo>
                <a:cubicBezTo>
                  <a:pt x="63" y="78"/>
                  <a:pt x="66" y="81"/>
                  <a:pt x="70" y="81"/>
                </a:cubicBezTo>
                <a:cubicBezTo>
                  <a:pt x="75" y="81"/>
                  <a:pt x="79" y="77"/>
                  <a:pt x="79" y="73"/>
                </a:cubicBezTo>
                <a:cubicBezTo>
                  <a:pt x="79" y="71"/>
                  <a:pt x="79" y="70"/>
                  <a:pt x="78" y="69"/>
                </a:cubicBezTo>
                <a:cubicBezTo>
                  <a:pt x="92" y="53"/>
                  <a:pt x="92" y="53"/>
                  <a:pt x="92" y="53"/>
                </a:cubicBezTo>
                <a:cubicBezTo>
                  <a:pt x="98" y="57"/>
                  <a:pt x="98" y="57"/>
                  <a:pt x="98" y="5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82" y="45"/>
                  <a:pt x="82" y="45"/>
                  <a:pt x="82" y="45"/>
                </a:cubicBezTo>
                <a:cubicBezTo>
                  <a:pt x="86" y="49"/>
                  <a:pt x="86" y="49"/>
                  <a:pt x="86" y="49"/>
                </a:cubicBezTo>
                <a:cubicBezTo>
                  <a:pt x="73" y="64"/>
                  <a:pt x="73" y="64"/>
                  <a:pt x="73" y="64"/>
                </a:cubicBezTo>
                <a:cubicBezTo>
                  <a:pt x="72" y="64"/>
                  <a:pt x="71" y="64"/>
                  <a:pt x="70" y="64"/>
                </a:cubicBezTo>
                <a:cubicBezTo>
                  <a:pt x="68" y="64"/>
                  <a:pt x="66" y="65"/>
                  <a:pt x="65" y="66"/>
                </a:cubicBezTo>
                <a:cubicBezTo>
                  <a:pt x="40" y="57"/>
                  <a:pt x="40" y="57"/>
                  <a:pt x="40" y="57"/>
                </a:cubicBezTo>
                <a:cubicBezTo>
                  <a:pt x="40" y="53"/>
                  <a:pt x="36" y="50"/>
                  <a:pt x="32" y="50"/>
                </a:cubicBezTo>
                <a:cubicBezTo>
                  <a:pt x="27" y="50"/>
                  <a:pt x="24" y="54"/>
                  <a:pt x="24" y="58"/>
                </a:cubicBezTo>
                <a:cubicBezTo>
                  <a:pt x="24" y="59"/>
                  <a:pt x="24" y="59"/>
                  <a:pt x="24" y="59"/>
                </a:cubicBezTo>
                <a:cubicBezTo>
                  <a:pt x="13" y="66"/>
                  <a:pt x="13" y="66"/>
                  <a:pt x="13" y="66"/>
                </a:cubicBezTo>
                <a:cubicBezTo>
                  <a:pt x="13" y="75"/>
                  <a:pt x="13" y="75"/>
                  <a:pt x="13" y="75"/>
                </a:cubicBezTo>
                <a:cubicBezTo>
                  <a:pt x="28" y="65"/>
                  <a:pt x="28" y="65"/>
                  <a:pt x="28" y="65"/>
                </a:cubicBezTo>
                <a:cubicBezTo>
                  <a:pt x="29" y="66"/>
                  <a:pt x="30" y="67"/>
                  <a:pt x="32" y="67"/>
                </a:cubicBezTo>
                <a:close/>
                <a:moveTo>
                  <a:pt x="7" y="96"/>
                </a:moveTo>
                <a:cubicBezTo>
                  <a:pt x="7" y="96"/>
                  <a:pt x="7" y="96"/>
                  <a:pt x="7" y="96"/>
                </a:cubicBezTo>
                <a:cubicBezTo>
                  <a:pt x="7" y="96"/>
                  <a:pt x="7" y="96"/>
                  <a:pt x="7" y="96"/>
                </a:cubicBezTo>
                <a:cubicBezTo>
                  <a:pt x="7" y="0"/>
                  <a:pt x="7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3"/>
                  <a:pt x="0" y="103"/>
                  <a:pt x="0" y="103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2" y="96"/>
                  <a:pt x="102" y="96"/>
                  <a:pt x="102" y="96"/>
                </a:cubicBezTo>
                <a:lnTo>
                  <a:pt x="7" y="96"/>
                </a:lnTo>
                <a:close/>
              </a:path>
            </a:pathLst>
          </a:custGeom>
          <a:solidFill>
            <a:srgbClr val="C41300"/>
          </a:solidFill>
          <a:ln w="9525">
            <a:solidFill>
              <a:srgbClr val="C41300"/>
            </a:solidFill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 dirty="0">
              <a:solidFill>
                <a:srgbClr val="000000"/>
              </a:solidFill>
            </a:endParaRPr>
          </a:p>
        </p:txBody>
      </p:sp>
      <p:grpSp>
        <p:nvGrpSpPr>
          <p:cNvPr id="12" name="Group 128"/>
          <p:cNvGrpSpPr/>
          <p:nvPr/>
        </p:nvGrpSpPr>
        <p:grpSpPr>
          <a:xfrm>
            <a:off x="7699471" y="2895600"/>
            <a:ext cx="253757" cy="220044"/>
            <a:chOff x="7022650" y="5904633"/>
            <a:chExt cx="392719" cy="340544"/>
          </a:xfrm>
        </p:grpSpPr>
        <p:sp>
          <p:nvSpPr>
            <p:cNvPr id="76" name="Freeform 41"/>
            <p:cNvSpPr>
              <a:spLocks noChangeAspect="1" noEditPoints="1"/>
            </p:cNvSpPr>
            <p:nvPr/>
          </p:nvSpPr>
          <p:spPr bwMode="auto">
            <a:xfrm>
              <a:off x="7022650" y="5904633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41"/>
            <p:cNvSpPr>
              <a:spLocks noChangeAspect="1" noEditPoints="1"/>
            </p:cNvSpPr>
            <p:nvPr/>
          </p:nvSpPr>
          <p:spPr bwMode="auto">
            <a:xfrm>
              <a:off x="7195769" y="6023767"/>
              <a:ext cx="219600" cy="221410"/>
            </a:xfrm>
            <a:custGeom>
              <a:avLst/>
              <a:gdLst/>
              <a:ahLst/>
              <a:cxnLst>
                <a:cxn ang="0">
                  <a:pos x="103" y="58"/>
                </a:cxn>
                <a:cxn ang="0">
                  <a:pos x="103" y="46"/>
                </a:cxn>
                <a:cxn ang="0">
                  <a:pos x="101" y="46"/>
                </a:cxn>
                <a:cxn ang="0">
                  <a:pos x="89" y="41"/>
                </a:cxn>
                <a:cxn ang="0">
                  <a:pos x="85" y="33"/>
                </a:cxn>
                <a:cxn ang="0">
                  <a:pos x="92" y="20"/>
                </a:cxn>
                <a:cxn ang="0">
                  <a:pos x="84" y="11"/>
                </a:cxn>
                <a:cxn ang="0">
                  <a:pos x="82" y="12"/>
                </a:cxn>
                <a:cxn ang="0">
                  <a:pos x="70" y="18"/>
                </a:cxn>
                <a:cxn ang="0">
                  <a:pos x="62" y="15"/>
                </a:cxn>
                <a:cxn ang="0">
                  <a:pos x="57" y="0"/>
                </a:cxn>
                <a:cxn ang="0">
                  <a:pos x="45" y="0"/>
                </a:cxn>
                <a:cxn ang="0">
                  <a:pos x="45" y="2"/>
                </a:cxn>
                <a:cxn ang="0">
                  <a:pos x="40" y="15"/>
                </a:cxn>
                <a:cxn ang="0">
                  <a:pos x="32" y="18"/>
                </a:cxn>
                <a:cxn ang="0">
                  <a:pos x="19" y="12"/>
                </a:cxn>
                <a:cxn ang="0">
                  <a:pos x="10" y="20"/>
                </a:cxn>
                <a:cxn ang="0">
                  <a:pos x="11" y="22"/>
                </a:cxn>
                <a:cxn ang="0">
                  <a:pos x="17" y="33"/>
                </a:cxn>
                <a:cxn ang="0">
                  <a:pos x="14" y="41"/>
                </a:cxn>
                <a:cxn ang="0">
                  <a:pos x="0" y="47"/>
                </a:cxn>
                <a:cxn ang="0">
                  <a:pos x="0" y="58"/>
                </a:cxn>
                <a:cxn ang="0">
                  <a:pos x="1" y="59"/>
                </a:cxn>
                <a:cxn ang="0">
                  <a:pos x="14" y="63"/>
                </a:cxn>
                <a:cxn ang="0">
                  <a:pos x="17" y="71"/>
                </a:cxn>
                <a:cxn ang="0">
                  <a:pos x="11" y="85"/>
                </a:cxn>
                <a:cxn ang="0">
                  <a:pos x="19" y="93"/>
                </a:cxn>
                <a:cxn ang="0">
                  <a:pos x="21" y="92"/>
                </a:cxn>
                <a:cxn ang="0">
                  <a:pos x="32" y="86"/>
                </a:cxn>
                <a:cxn ang="0">
                  <a:pos x="41" y="90"/>
                </a:cxn>
                <a:cxn ang="0">
                  <a:pos x="46" y="104"/>
                </a:cxn>
                <a:cxn ang="0">
                  <a:pos x="57" y="104"/>
                </a:cxn>
                <a:cxn ang="0">
                  <a:pos x="58" y="102"/>
                </a:cxn>
                <a:cxn ang="0">
                  <a:pos x="62" y="90"/>
                </a:cxn>
                <a:cxn ang="0">
                  <a:pos x="70" y="86"/>
                </a:cxn>
                <a:cxn ang="0">
                  <a:pos x="84" y="93"/>
                </a:cxn>
                <a:cxn ang="0">
                  <a:pos x="92" y="84"/>
                </a:cxn>
                <a:cxn ang="0">
                  <a:pos x="91" y="83"/>
                </a:cxn>
                <a:cxn ang="0">
                  <a:pos x="85" y="71"/>
                </a:cxn>
                <a:cxn ang="0">
                  <a:pos x="89" y="63"/>
                </a:cxn>
                <a:cxn ang="0">
                  <a:pos x="103" y="58"/>
                </a:cxn>
                <a:cxn ang="0">
                  <a:pos x="51" y="69"/>
                </a:cxn>
                <a:cxn ang="0">
                  <a:pos x="35" y="52"/>
                </a:cxn>
                <a:cxn ang="0">
                  <a:pos x="51" y="36"/>
                </a:cxn>
                <a:cxn ang="0">
                  <a:pos x="68" y="52"/>
                </a:cxn>
                <a:cxn ang="0">
                  <a:pos x="51" y="69"/>
                </a:cxn>
              </a:cxnLst>
              <a:rect l="0" t="0" r="r" b="b"/>
              <a:pathLst>
                <a:path w="103" h="104">
                  <a:moveTo>
                    <a:pt x="103" y="58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9" y="63"/>
                    <a:pt x="89" y="63"/>
                    <a:pt x="89" y="63"/>
                  </a:cubicBezTo>
                  <a:lnTo>
                    <a:pt x="103" y="58"/>
                  </a:lnTo>
                  <a:close/>
                  <a:moveTo>
                    <a:pt x="51" y="69"/>
                  </a:moveTo>
                  <a:cubicBezTo>
                    <a:pt x="42" y="69"/>
                    <a:pt x="35" y="61"/>
                    <a:pt x="35" y="52"/>
                  </a:cubicBezTo>
                  <a:cubicBezTo>
                    <a:pt x="35" y="43"/>
                    <a:pt x="42" y="36"/>
                    <a:pt x="51" y="36"/>
                  </a:cubicBezTo>
                  <a:cubicBezTo>
                    <a:pt x="60" y="36"/>
                    <a:pt x="68" y="43"/>
                    <a:pt x="68" y="52"/>
                  </a:cubicBezTo>
                  <a:cubicBezTo>
                    <a:pt x="68" y="61"/>
                    <a:pt x="60" y="69"/>
                    <a:pt x="51" y="6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5" name="Group 150"/>
          <p:cNvGrpSpPr>
            <a:grpSpLocks noChangeAspect="1"/>
          </p:cNvGrpSpPr>
          <p:nvPr/>
        </p:nvGrpSpPr>
        <p:grpSpPr>
          <a:xfrm>
            <a:off x="7626900" y="5117557"/>
            <a:ext cx="331732" cy="298743"/>
            <a:chOff x="11257543" y="2117339"/>
            <a:chExt cx="486036" cy="437702"/>
          </a:xfrm>
        </p:grpSpPr>
        <p:sp>
          <p:nvSpPr>
            <p:cNvPr id="78" name="Freeform 8"/>
            <p:cNvSpPr>
              <a:spLocks/>
            </p:cNvSpPr>
            <p:nvPr/>
          </p:nvSpPr>
          <p:spPr bwMode="auto">
            <a:xfrm>
              <a:off x="11257543" y="2369219"/>
              <a:ext cx="486036" cy="185822"/>
            </a:xfrm>
            <a:custGeom>
              <a:avLst/>
              <a:gdLst/>
              <a:ahLst/>
              <a:cxnLst>
                <a:cxn ang="0">
                  <a:pos x="464" y="137"/>
                </a:cxn>
                <a:cxn ang="0">
                  <a:pos x="542" y="172"/>
                </a:cxn>
                <a:cxn ang="0">
                  <a:pos x="628" y="152"/>
                </a:cxn>
                <a:cxn ang="0">
                  <a:pos x="686" y="81"/>
                </a:cxn>
                <a:cxn ang="0">
                  <a:pos x="730" y="51"/>
                </a:cxn>
                <a:cxn ang="0">
                  <a:pos x="760" y="78"/>
                </a:cxn>
                <a:cxn ang="0">
                  <a:pos x="726" y="177"/>
                </a:cxn>
                <a:cxn ang="0">
                  <a:pos x="559" y="284"/>
                </a:cxn>
                <a:cxn ang="0">
                  <a:pos x="320" y="265"/>
                </a:cxn>
                <a:cxn ang="0">
                  <a:pos x="159" y="272"/>
                </a:cxn>
                <a:cxn ang="0">
                  <a:pos x="96" y="256"/>
                </a:cxn>
                <a:cxn ang="0">
                  <a:pos x="0" y="160"/>
                </a:cxn>
                <a:cxn ang="0">
                  <a:pos x="188" y="29"/>
                </a:cxn>
                <a:cxn ang="0">
                  <a:pos x="311" y="12"/>
                </a:cxn>
                <a:cxn ang="0">
                  <a:pos x="542" y="35"/>
                </a:cxn>
                <a:cxn ang="0">
                  <a:pos x="592" y="61"/>
                </a:cxn>
                <a:cxn ang="0">
                  <a:pos x="576" y="112"/>
                </a:cxn>
                <a:cxn ang="0">
                  <a:pos x="485" y="131"/>
                </a:cxn>
                <a:cxn ang="0">
                  <a:pos x="464" y="132"/>
                </a:cxn>
                <a:cxn ang="0">
                  <a:pos x="464" y="137"/>
                </a:cxn>
              </a:cxnLst>
              <a:rect l="0" t="0" r="r" b="b"/>
              <a:pathLst>
                <a:path w="766" h="293">
                  <a:moveTo>
                    <a:pt x="464" y="137"/>
                  </a:moveTo>
                  <a:cubicBezTo>
                    <a:pt x="490" y="148"/>
                    <a:pt x="516" y="160"/>
                    <a:pt x="542" y="172"/>
                  </a:cubicBezTo>
                  <a:cubicBezTo>
                    <a:pt x="575" y="186"/>
                    <a:pt x="604" y="179"/>
                    <a:pt x="628" y="152"/>
                  </a:cubicBezTo>
                  <a:cubicBezTo>
                    <a:pt x="648" y="129"/>
                    <a:pt x="665" y="103"/>
                    <a:pt x="686" y="81"/>
                  </a:cubicBezTo>
                  <a:cubicBezTo>
                    <a:pt x="698" y="69"/>
                    <a:pt x="714" y="58"/>
                    <a:pt x="730" y="51"/>
                  </a:cubicBezTo>
                  <a:cubicBezTo>
                    <a:pt x="752" y="42"/>
                    <a:pt x="766" y="54"/>
                    <a:pt x="760" y="78"/>
                  </a:cubicBezTo>
                  <a:cubicBezTo>
                    <a:pt x="751" y="111"/>
                    <a:pt x="740" y="145"/>
                    <a:pt x="726" y="177"/>
                  </a:cubicBezTo>
                  <a:cubicBezTo>
                    <a:pt x="694" y="248"/>
                    <a:pt x="634" y="276"/>
                    <a:pt x="559" y="284"/>
                  </a:cubicBezTo>
                  <a:cubicBezTo>
                    <a:pt x="478" y="293"/>
                    <a:pt x="399" y="275"/>
                    <a:pt x="320" y="265"/>
                  </a:cubicBezTo>
                  <a:cubicBezTo>
                    <a:pt x="266" y="258"/>
                    <a:pt x="210" y="249"/>
                    <a:pt x="159" y="272"/>
                  </a:cubicBezTo>
                  <a:cubicBezTo>
                    <a:pt x="129" y="285"/>
                    <a:pt x="114" y="277"/>
                    <a:pt x="96" y="256"/>
                  </a:cubicBezTo>
                  <a:cubicBezTo>
                    <a:pt x="66" y="223"/>
                    <a:pt x="33" y="193"/>
                    <a:pt x="0" y="160"/>
                  </a:cubicBezTo>
                  <a:cubicBezTo>
                    <a:pt x="63" y="115"/>
                    <a:pt x="124" y="70"/>
                    <a:pt x="188" y="29"/>
                  </a:cubicBezTo>
                  <a:cubicBezTo>
                    <a:pt x="225" y="5"/>
                    <a:pt x="268" y="0"/>
                    <a:pt x="311" y="12"/>
                  </a:cubicBezTo>
                  <a:cubicBezTo>
                    <a:pt x="387" y="32"/>
                    <a:pt x="463" y="41"/>
                    <a:pt x="542" y="35"/>
                  </a:cubicBezTo>
                  <a:cubicBezTo>
                    <a:pt x="563" y="34"/>
                    <a:pt x="581" y="41"/>
                    <a:pt x="592" y="61"/>
                  </a:cubicBezTo>
                  <a:cubicBezTo>
                    <a:pt x="603" y="81"/>
                    <a:pt x="598" y="105"/>
                    <a:pt x="576" y="112"/>
                  </a:cubicBezTo>
                  <a:cubicBezTo>
                    <a:pt x="546" y="121"/>
                    <a:pt x="515" y="125"/>
                    <a:pt x="485" y="131"/>
                  </a:cubicBezTo>
                  <a:cubicBezTo>
                    <a:pt x="478" y="132"/>
                    <a:pt x="471" y="132"/>
                    <a:pt x="464" y="132"/>
                  </a:cubicBezTo>
                  <a:cubicBezTo>
                    <a:pt x="464" y="134"/>
                    <a:pt x="464" y="135"/>
                    <a:pt x="464" y="1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9"/>
            <p:cNvSpPr>
              <a:spLocks/>
            </p:cNvSpPr>
            <p:nvPr/>
          </p:nvSpPr>
          <p:spPr bwMode="auto">
            <a:xfrm>
              <a:off x="11371667" y="2117339"/>
              <a:ext cx="370569" cy="359829"/>
            </a:xfrm>
            <a:custGeom>
              <a:avLst/>
              <a:gdLst/>
              <a:ahLst/>
              <a:cxnLst>
                <a:cxn ang="0">
                  <a:pos x="347" y="543"/>
                </a:cxn>
                <a:cxn ang="0">
                  <a:pos x="401" y="525"/>
                </a:cxn>
                <a:cxn ang="0">
                  <a:pos x="410" y="430"/>
                </a:cxn>
                <a:cxn ang="0">
                  <a:pos x="399" y="403"/>
                </a:cxn>
                <a:cxn ang="0">
                  <a:pos x="341" y="301"/>
                </a:cxn>
                <a:cxn ang="0">
                  <a:pos x="298" y="284"/>
                </a:cxn>
                <a:cxn ang="0">
                  <a:pos x="294" y="236"/>
                </a:cxn>
                <a:cxn ang="0">
                  <a:pos x="295" y="176"/>
                </a:cxn>
                <a:cxn ang="0">
                  <a:pos x="296" y="172"/>
                </a:cxn>
                <a:cxn ang="0">
                  <a:pos x="355" y="225"/>
                </a:cxn>
                <a:cxn ang="0">
                  <a:pos x="392" y="225"/>
                </a:cxn>
                <a:cxn ang="0">
                  <a:pos x="317" y="137"/>
                </a:cxn>
                <a:cxn ang="0">
                  <a:pos x="294" y="112"/>
                </a:cxn>
                <a:cxn ang="0">
                  <a:pos x="293" y="103"/>
                </a:cxn>
                <a:cxn ang="0">
                  <a:pos x="275" y="103"/>
                </a:cxn>
                <a:cxn ang="0">
                  <a:pos x="274" y="114"/>
                </a:cxn>
                <a:cxn ang="0">
                  <a:pos x="255" y="137"/>
                </a:cxn>
                <a:cxn ang="0">
                  <a:pos x="173" y="223"/>
                </a:cxn>
                <a:cxn ang="0">
                  <a:pos x="246" y="316"/>
                </a:cxn>
                <a:cxn ang="0">
                  <a:pos x="274" y="353"/>
                </a:cxn>
                <a:cxn ang="0">
                  <a:pos x="274" y="417"/>
                </a:cxn>
                <a:cxn ang="0">
                  <a:pos x="220" y="411"/>
                </a:cxn>
                <a:cxn ang="0">
                  <a:pos x="210" y="399"/>
                </a:cxn>
                <a:cxn ang="0">
                  <a:pos x="179" y="376"/>
                </a:cxn>
                <a:cxn ang="0">
                  <a:pos x="166" y="377"/>
                </a:cxn>
                <a:cxn ang="0">
                  <a:pos x="168" y="398"/>
                </a:cxn>
                <a:cxn ang="0">
                  <a:pos x="22" y="402"/>
                </a:cxn>
                <a:cxn ang="0">
                  <a:pos x="46" y="182"/>
                </a:cxn>
                <a:cxn ang="0">
                  <a:pos x="455" y="105"/>
                </a:cxn>
                <a:cxn ang="0">
                  <a:pos x="535" y="427"/>
                </a:cxn>
                <a:cxn ang="0">
                  <a:pos x="530" y="436"/>
                </a:cxn>
                <a:cxn ang="0">
                  <a:pos x="442" y="532"/>
                </a:cxn>
                <a:cxn ang="0">
                  <a:pos x="347" y="543"/>
                </a:cxn>
              </a:cxnLst>
              <a:rect l="0" t="0" r="r" b="b"/>
              <a:pathLst>
                <a:path w="584" h="567">
                  <a:moveTo>
                    <a:pt x="347" y="543"/>
                  </a:moveTo>
                  <a:cubicBezTo>
                    <a:pt x="366" y="537"/>
                    <a:pt x="384" y="532"/>
                    <a:pt x="401" y="525"/>
                  </a:cubicBezTo>
                  <a:cubicBezTo>
                    <a:pt x="445" y="509"/>
                    <a:pt x="442" y="452"/>
                    <a:pt x="410" y="430"/>
                  </a:cubicBezTo>
                  <a:cubicBezTo>
                    <a:pt x="397" y="422"/>
                    <a:pt x="396" y="415"/>
                    <a:pt x="399" y="403"/>
                  </a:cubicBezTo>
                  <a:cubicBezTo>
                    <a:pt x="409" y="353"/>
                    <a:pt x="389" y="319"/>
                    <a:pt x="341" y="301"/>
                  </a:cubicBezTo>
                  <a:cubicBezTo>
                    <a:pt x="326" y="296"/>
                    <a:pt x="305" y="295"/>
                    <a:pt x="298" y="284"/>
                  </a:cubicBezTo>
                  <a:cubicBezTo>
                    <a:pt x="290" y="272"/>
                    <a:pt x="295" y="252"/>
                    <a:pt x="294" y="236"/>
                  </a:cubicBezTo>
                  <a:cubicBezTo>
                    <a:pt x="294" y="216"/>
                    <a:pt x="295" y="196"/>
                    <a:pt x="295" y="176"/>
                  </a:cubicBezTo>
                  <a:cubicBezTo>
                    <a:pt x="295" y="174"/>
                    <a:pt x="295" y="173"/>
                    <a:pt x="296" y="172"/>
                  </a:cubicBezTo>
                  <a:cubicBezTo>
                    <a:pt x="324" y="168"/>
                    <a:pt x="338" y="180"/>
                    <a:pt x="355" y="225"/>
                  </a:cubicBezTo>
                  <a:cubicBezTo>
                    <a:pt x="367" y="225"/>
                    <a:pt x="380" y="225"/>
                    <a:pt x="392" y="225"/>
                  </a:cubicBezTo>
                  <a:cubicBezTo>
                    <a:pt x="387" y="175"/>
                    <a:pt x="362" y="144"/>
                    <a:pt x="317" y="137"/>
                  </a:cubicBezTo>
                  <a:cubicBezTo>
                    <a:pt x="299" y="135"/>
                    <a:pt x="291" y="129"/>
                    <a:pt x="294" y="112"/>
                  </a:cubicBezTo>
                  <a:cubicBezTo>
                    <a:pt x="295" y="109"/>
                    <a:pt x="294" y="107"/>
                    <a:pt x="293" y="103"/>
                  </a:cubicBezTo>
                  <a:cubicBezTo>
                    <a:pt x="287" y="103"/>
                    <a:pt x="282" y="103"/>
                    <a:pt x="275" y="103"/>
                  </a:cubicBezTo>
                  <a:cubicBezTo>
                    <a:pt x="275" y="107"/>
                    <a:pt x="273" y="111"/>
                    <a:pt x="274" y="114"/>
                  </a:cubicBezTo>
                  <a:cubicBezTo>
                    <a:pt x="276" y="129"/>
                    <a:pt x="271" y="135"/>
                    <a:pt x="255" y="137"/>
                  </a:cubicBezTo>
                  <a:cubicBezTo>
                    <a:pt x="211" y="140"/>
                    <a:pt x="175" y="179"/>
                    <a:pt x="173" y="223"/>
                  </a:cubicBezTo>
                  <a:cubicBezTo>
                    <a:pt x="170" y="269"/>
                    <a:pt x="195" y="303"/>
                    <a:pt x="246" y="316"/>
                  </a:cubicBezTo>
                  <a:cubicBezTo>
                    <a:pt x="270" y="321"/>
                    <a:pt x="276" y="331"/>
                    <a:pt x="274" y="353"/>
                  </a:cubicBezTo>
                  <a:cubicBezTo>
                    <a:pt x="272" y="373"/>
                    <a:pt x="274" y="394"/>
                    <a:pt x="274" y="417"/>
                  </a:cubicBezTo>
                  <a:cubicBezTo>
                    <a:pt x="254" y="415"/>
                    <a:pt x="237" y="414"/>
                    <a:pt x="220" y="411"/>
                  </a:cubicBezTo>
                  <a:cubicBezTo>
                    <a:pt x="216" y="410"/>
                    <a:pt x="210" y="403"/>
                    <a:pt x="210" y="399"/>
                  </a:cubicBezTo>
                  <a:cubicBezTo>
                    <a:pt x="210" y="376"/>
                    <a:pt x="197" y="374"/>
                    <a:pt x="179" y="376"/>
                  </a:cubicBezTo>
                  <a:cubicBezTo>
                    <a:pt x="175" y="377"/>
                    <a:pt x="171" y="377"/>
                    <a:pt x="166" y="377"/>
                  </a:cubicBezTo>
                  <a:cubicBezTo>
                    <a:pt x="167" y="383"/>
                    <a:pt x="167" y="389"/>
                    <a:pt x="168" y="398"/>
                  </a:cubicBezTo>
                  <a:cubicBezTo>
                    <a:pt x="119" y="388"/>
                    <a:pt x="70" y="377"/>
                    <a:pt x="22" y="402"/>
                  </a:cubicBezTo>
                  <a:cubicBezTo>
                    <a:pt x="0" y="323"/>
                    <a:pt x="6" y="250"/>
                    <a:pt x="46" y="182"/>
                  </a:cubicBezTo>
                  <a:cubicBezTo>
                    <a:pt x="132" y="36"/>
                    <a:pt x="321" y="0"/>
                    <a:pt x="455" y="105"/>
                  </a:cubicBezTo>
                  <a:cubicBezTo>
                    <a:pt x="550" y="179"/>
                    <a:pt x="584" y="316"/>
                    <a:pt x="535" y="427"/>
                  </a:cubicBezTo>
                  <a:cubicBezTo>
                    <a:pt x="533" y="430"/>
                    <a:pt x="533" y="435"/>
                    <a:pt x="530" y="436"/>
                  </a:cubicBezTo>
                  <a:cubicBezTo>
                    <a:pt x="490" y="458"/>
                    <a:pt x="472" y="501"/>
                    <a:pt x="442" y="532"/>
                  </a:cubicBezTo>
                  <a:cubicBezTo>
                    <a:pt x="410" y="565"/>
                    <a:pt x="390" y="567"/>
                    <a:pt x="347" y="54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11506200" y="2224751"/>
              <a:ext cx="38668" cy="69549"/>
            </a:xfrm>
            <a:custGeom>
              <a:avLst/>
              <a:gdLst/>
              <a:ahLst/>
              <a:cxnLst>
                <a:cxn ang="0">
                  <a:pos x="61" y="1"/>
                </a:cxn>
                <a:cxn ang="0">
                  <a:pos x="61" y="110"/>
                </a:cxn>
                <a:cxn ang="0">
                  <a:pos x="1" y="55"/>
                </a:cxn>
                <a:cxn ang="0">
                  <a:pos x="61" y="1"/>
                </a:cxn>
              </a:cxnLst>
              <a:rect l="0" t="0" r="r" b="b"/>
              <a:pathLst>
                <a:path w="61" h="110">
                  <a:moveTo>
                    <a:pt x="61" y="1"/>
                  </a:moveTo>
                  <a:cubicBezTo>
                    <a:pt x="61" y="38"/>
                    <a:pt x="61" y="74"/>
                    <a:pt x="61" y="110"/>
                  </a:cubicBezTo>
                  <a:cubicBezTo>
                    <a:pt x="26" y="110"/>
                    <a:pt x="0" y="86"/>
                    <a:pt x="1" y="55"/>
                  </a:cubicBezTo>
                  <a:cubicBezTo>
                    <a:pt x="3" y="21"/>
                    <a:pt x="25" y="0"/>
                    <a:pt x="61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11"/>
            <p:cNvSpPr>
              <a:spLocks/>
            </p:cNvSpPr>
            <p:nvPr/>
          </p:nvSpPr>
          <p:spPr bwMode="auto">
            <a:xfrm>
              <a:off x="11558831" y="2327329"/>
              <a:ext cx="49678" cy="53974"/>
            </a:xfrm>
            <a:custGeom>
              <a:avLst/>
              <a:gdLst/>
              <a:ahLst/>
              <a:cxnLst>
                <a:cxn ang="0">
                  <a:pos x="60" y="81"/>
                </a:cxn>
                <a:cxn ang="0">
                  <a:pos x="0" y="85"/>
                </a:cxn>
                <a:cxn ang="0">
                  <a:pos x="1" y="0"/>
                </a:cxn>
                <a:cxn ang="0">
                  <a:pos x="60" y="81"/>
                </a:cxn>
              </a:cxnLst>
              <a:rect l="0" t="0" r="r" b="b"/>
              <a:pathLst>
                <a:path w="78" h="85">
                  <a:moveTo>
                    <a:pt x="60" y="81"/>
                  </a:moveTo>
                  <a:cubicBezTo>
                    <a:pt x="41" y="82"/>
                    <a:pt x="21" y="84"/>
                    <a:pt x="0" y="85"/>
                  </a:cubicBezTo>
                  <a:cubicBezTo>
                    <a:pt x="0" y="55"/>
                    <a:pt x="0" y="28"/>
                    <a:pt x="1" y="0"/>
                  </a:cubicBezTo>
                  <a:cubicBezTo>
                    <a:pt x="39" y="3"/>
                    <a:pt x="78" y="31"/>
                    <a:pt x="60" y="8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3" name="Slide Number Placeholder 2"/>
          <p:cNvSpPr txBox="1">
            <a:spLocks/>
          </p:cNvSpPr>
          <p:nvPr/>
        </p:nvSpPr>
        <p:spPr bwMode="auto">
          <a:xfrm>
            <a:off x="9586470" y="6725646"/>
            <a:ext cx="254360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0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1pPr>
            <a:lvl2pPr marL="457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28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2pPr>
            <a:lvl3pPr marL="9144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6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3pPr>
            <a:lvl4pPr marL="1375200" indent="-2340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5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4pPr>
            <a:lvl5pPr marL="2059200" indent="-230400" algn="l" rtl="0" eaLnBrk="0" fontAlgn="base" hangingPunct="0">
              <a:spcBef>
                <a:spcPts val="384"/>
              </a:spcBef>
              <a:spcAft>
                <a:spcPct val="0"/>
              </a:spcAft>
              <a:buClr>
                <a:srgbClr val="4D4D4F"/>
              </a:buClr>
              <a:buFont typeface="Times" pitchFamily="18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  <a:cs typeface="ＭＳ Ｐゴシック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lr>
                <a:srgbClr val="4D4D4F"/>
              </a:buClr>
              <a:buFont typeface="Times" pitchFamily="80" charset="0"/>
              <a:buChar char="•"/>
              <a:defRPr sz="1400">
                <a:solidFill>
                  <a:srgbClr val="4D4D4F"/>
                </a:solidFill>
                <a:latin typeface="+mn-lt"/>
                <a:ea typeface="+mn-ea"/>
              </a:defRPr>
            </a:lvl9pPr>
          </a:lstStyle>
          <a:p>
            <a:pPr marL="0" indent="0" algn="r">
              <a:buNone/>
              <a:defRPr/>
            </a:pPr>
            <a:r>
              <a:rPr lang="en-US" sz="800" kern="0" dirty="0" smtClean="0">
                <a:solidFill>
                  <a:srgbClr val="4C4C4C"/>
                </a:solidFill>
              </a:rPr>
              <a:t>8</a:t>
            </a:r>
            <a:endParaRPr lang="en-US" sz="800" kern="0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5047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MxXFM1E.skvWwx3pR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xJ.ocZPU.Z25S2pQLnV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CDqNe2Ui4BYON.9XK9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VntS80U.ZYr_KNjwP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_nUj.RUOl0FaNMPi3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JLgXoKkGbQsCsBIDI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a1apWrEK6TSx4rdIT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dZm2xDEqsHciHEiFn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gaXXKJU2zUU.juBTe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cqPOVqI0qkrwOKb86C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szGFHpk.TQt5STYj6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OH5b_yEOXxGFHTBP_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zjWXubUE.7WChTG.q8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UTfGKDM0uCKuVrbzgg4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_tTEuKZkCbBb8mNMD6A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lBoRZVkiCyGw1nT_e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N6tacvU6PCnTRa04sp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E3zX5TUmM6PYM1Wjm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PwQaKok6zj4kCoodq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eSP8iJy0Sz8nl8bhoV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gN6nD60yfedIZtFNvb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eXceU2EWnO7y1YT5E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9YHiuWU2MGo.bKQKmB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6JQvRnkiElEvb9UXDk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xV2vjqdk2110wLWuoh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6yD_s.I0a9v9E0uCCg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4Gn9AtTk6TmhHEDmWz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6QDbiLJ0uPCw7uz3uH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OV0NiSkeHPsy6zk2ylg"/>
</p:tagLst>
</file>

<file path=ppt/theme/theme1.xml><?xml version="1.0" encoding="utf-8"?>
<a:theme xmlns:a="http://schemas.openxmlformats.org/drawingml/2006/main" name="1_Blank Presentation">
  <a:themeElements>
    <a:clrScheme name="">
      <a:dk1>
        <a:srgbClr val="4C4C4C"/>
      </a:dk1>
      <a:lt1>
        <a:srgbClr val="FFFFFF"/>
      </a:lt1>
      <a:dk2>
        <a:srgbClr val="333399"/>
      </a:dk2>
      <a:lt2>
        <a:srgbClr val="4C4C4C"/>
      </a:lt2>
      <a:accent1>
        <a:srgbClr val="C8F913"/>
      </a:accent1>
      <a:accent2>
        <a:srgbClr val="333399"/>
      </a:accent2>
      <a:accent3>
        <a:srgbClr val="FFFFFF"/>
      </a:accent3>
      <a:accent4>
        <a:srgbClr val="404040"/>
      </a:accent4>
      <a:accent5>
        <a:srgbClr val="E0FBAA"/>
      </a:accent5>
      <a:accent6>
        <a:srgbClr val="2D2D8A"/>
      </a:accent6>
      <a:hlink>
        <a:srgbClr val="C0C5B3"/>
      </a:hlink>
      <a:folHlink>
        <a:srgbClr val="D4FF8F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rebuchet MS" pitchFamily="80" charset="0"/>
            <a:ea typeface="ＭＳ Ｐゴシック" pitchFamily="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rebuchet MS" pitchFamily="80" charset="0"/>
            <a:ea typeface="ＭＳ Ｐゴシック" pitchFamily="80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000000"/>
        </a:dk1>
        <a:lt1>
          <a:srgbClr val="FFFFFF"/>
        </a:lt1>
        <a:dk2>
          <a:srgbClr val="333399"/>
        </a:dk2>
        <a:lt2>
          <a:srgbClr val="808080"/>
        </a:lt2>
        <a:accent1>
          <a:srgbClr val="C8F91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AEAEAE"/>
        </a:accent6>
        <a:hlink>
          <a:srgbClr val="CC99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4">
        <a:dk1>
          <a:srgbClr val="000000"/>
        </a:dk1>
        <a:lt1>
          <a:srgbClr val="FFFFFF"/>
        </a:lt1>
        <a:dk2>
          <a:srgbClr val="333399"/>
        </a:dk2>
        <a:lt2>
          <a:srgbClr val="777777"/>
        </a:lt2>
        <a:accent1>
          <a:srgbClr val="C8F91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AEAEAE"/>
        </a:accent6>
        <a:hlink>
          <a:srgbClr val="CC99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5">
        <a:dk1>
          <a:srgbClr val="000000"/>
        </a:dk1>
        <a:lt1>
          <a:srgbClr val="FFFFFF"/>
        </a:lt1>
        <a:dk2>
          <a:srgbClr val="333399"/>
        </a:dk2>
        <a:lt2>
          <a:srgbClr val="777777"/>
        </a:lt2>
        <a:accent1>
          <a:srgbClr val="C8F91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2D2D8A"/>
        </a:accent6>
        <a:hlink>
          <a:srgbClr val="C0C5B3"/>
        </a:hlink>
        <a:folHlink>
          <a:srgbClr val="D4FF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6">
        <a:dk1>
          <a:srgbClr val="000000"/>
        </a:dk1>
        <a:lt1>
          <a:srgbClr val="FFFFFF"/>
        </a:lt1>
        <a:dk2>
          <a:srgbClr val="333399"/>
        </a:dk2>
        <a:lt2>
          <a:srgbClr val="4C4C4C"/>
        </a:lt2>
        <a:accent1>
          <a:srgbClr val="C8F91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2D2D8A"/>
        </a:accent6>
        <a:hlink>
          <a:srgbClr val="C0C5B3"/>
        </a:hlink>
        <a:folHlink>
          <a:srgbClr val="D4FF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Blank Presentation">
  <a:themeElements>
    <a:clrScheme name="">
      <a:dk1>
        <a:srgbClr val="4C4C4C"/>
      </a:dk1>
      <a:lt1>
        <a:srgbClr val="FFFFFF"/>
      </a:lt1>
      <a:dk2>
        <a:srgbClr val="333399"/>
      </a:dk2>
      <a:lt2>
        <a:srgbClr val="4C4C4C"/>
      </a:lt2>
      <a:accent1>
        <a:srgbClr val="C8F913"/>
      </a:accent1>
      <a:accent2>
        <a:srgbClr val="333399"/>
      </a:accent2>
      <a:accent3>
        <a:srgbClr val="FFFFFF"/>
      </a:accent3>
      <a:accent4>
        <a:srgbClr val="404040"/>
      </a:accent4>
      <a:accent5>
        <a:srgbClr val="E0FBAA"/>
      </a:accent5>
      <a:accent6>
        <a:srgbClr val="2D2D8A"/>
      </a:accent6>
      <a:hlink>
        <a:srgbClr val="C0C5B3"/>
      </a:hlink>
      <a:folHlink>
        <a:srgbClr val="D4FF8F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rebuchet MS" pitchFamily="80" charset="0"/>
            <a:ea typeface="ＭＳ Ｐゴシック" pitchFamily="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rebuchet MS" pitchFamily="80" charset="0"/>
            <a:ea typeface="ＭＳ Ｐゴシック" pitchFamily="80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000000"/>
        </a:dk1>
        <a:lt1>
          <a:srgbClr val="FFFFFF"/>
        </a:lt1>
        <a:dk2>
          <a:srgbClr val="333399"/>
        </a:dk2>
        <a:lt2>
          <a:srgbClr val="808080"/>
        </a:lt2>
        <a:accent1>
          <a:srgbClr val="C8F91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AEAEAE"/>
        </a:accent6>
        <a:hlink>
          <a:srgbClr val="CC99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4">
        <a:dk1>
          <a:srgbClr val="000000"/>
        </a:dk1>
        <a:lt1>
          <a:srgbClr val="FFFFFF"/>
        </a:lt1>
        <a:dk2>
          <a:srgbClr val="333399"/>
        </a:dk2>
        <a:lt2>
          <a:srgbClr val="777777"/>
        </a:lt2>
        <a:accent1>
          <a:srgbClr val="C8F91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AEAEAE"/>
        </a:accent6>
        <a:hlink>
          <a:srgbClr val="CC99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5">
        <a:dk1>
          <a:srgbClr val="000000"/>
        </a:dk1>
        <a:lt1>
          <a:srgbClr val="FFFFFF"/>
        </a:lt1>
        <a:dk2>
          <a:srgbClr val="333399"/>
        </a:dk2>
        <a:lt2>
          <a:srgbClr val="777777"/>
        </a:lt2>
        <a:accent1>
          <a:srgbClr val="C8F91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2D2D8A"/>
        </a:accent6>
        <a:hlink>
          <a:srgbClr val="C0C5B3"/>
        </a:hlink>
        <a:folHlink>
          <a:srgbClr val="D4FF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6">
        <a:dk1>
          <a:srgbClr val="000000"/>
        </a:dk1>
        <a:lt1>
          <a:srgbClr val="FFFFFF"/>
        </a:lt1>
        <a:dk2>
          <a:srgbClr val="333399"/>
        </a:dk2>
        <a:lt2>
          <a:srgbClr val="4C4C4C"/>
        </a:lt2>
        <a:accent1>
          <a:srgbClr val="C8F91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FBAA"/>
        </a:accent5>
        <a:accent6>
          <a:srgbClr val="2D2D8A"/>
        </a:accent6>
        <a:hlink>
          <a:srgbClr val="C0C5B3"/>
        </a:hlink>
        <a:folHlink>
          <a:srgbClr val="D4FF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4C4C4C"/>
    </a:dk1>
    <a:lt1>
      <a:srgbClr val="FFFFFF"/>
    </a:lt1>
    <a:dk2>
      <a:srgbClr val="333399"/>
    </a:dk2>
    <a:lt2>
      <a:srgbClr val="4C4C4C"/>
    </a:lt2>
    <a:accent1>
      <a:srgbClr val="C8F913"/>
    </a:accent1>
    <a:accent2>
      <a:srgbClr val="333399"/>
    </a:accent2>
    <a:accent3>
      <a:srgbClr val="FFFFFF"/>
    </a:accent3>
    <a:accent4>
      <a:srgbClr val="404040"/>
    </a:accent4>
    <a:accent5>
      <a:srgbClr val="E0FBAA"/>
    </a:accent5>
    <a:accent6>
      <a:srgbClr val="2D2D8A"/>
    </a:accent6>
    <a:hlink>
      <a:srgbClr val="C0C5B3"/>
    </a:hlink>
    <a:folHlink>
      <a:srgbClr val="D4FF8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31</TotalTime>
  <Words>2390</Words>
  <Application>Microsoft Macintosh PowerPoint</Application>
  <PresentationFormat>Custom</PresentationFormat>
  <Paragraphs>410</Paragraphs>
  <Slides>19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1_Blank Presentation</vt:lpstr>
      <vt:lpstr>4_Blank Presentation</vt:lpstr>
      <vt:lpstr>think-cell Slide</vt:lpstr>
      <vt:lpstr>PowerPoint Presentation</vt:lpstr>
      <vt:lpstr>Brief on eGovernance</vt:lpstr>
      <vt:lpstr>Role of IT –BPM Industry</vt:lpstr>
      <vt:lpstr>Technology will play a critical role to create the India of Tomorrow  Technology is changing at rapid pace Velocity of change has increased Predictability of change has decreased</vt:lpstr>
      <vt:lpstr>Technology is also transforming the Socioeconomic Landscape in India</vt:lpstr>
      <vt:lpstr>Examples of Innovation and Technology-led transformational Government Stories in India</vt:lpstr>
      <vt:lpstr>Passport Seva: Transforming public sector services</vt:lpstr>
      <vt:lpstr>Integrated Emergency Response and Management for timely emergency care</vt:lpstr>
      <vt:lpstr>Online processing and management of tax returns</vt:lpstr>
      <vt:lpstr>E-enablement and seamless delivery of citizen centric services online</vt:lpstr>
      <vt:lpstr>Affordable and effective healthcare access using cloud</vt:lpstr>
      <vt:lpstr>India's first web based Urban Property Ownership Record (UPOR) system</vt:lpstr>
      <vt:lpstr>Municipal Administrative Information Network (MAINet™) </vt:lpstr>
      <vt:lpstr>IT transformation of state-owned power distribution companies</vt:lpstr>
      <vt:lpstr>  Enablers for a Win-Win partnership in eGovernance </vt:lpstr>
      <vt:lpstr> Enablers for a Win-Win partnership in eGovernance    </vt:lpstr>
      <vt:lpstr> Enablers for a Win-Win partnership in eGovernance      </vt:lpstr>
      <vt:lpstr>Way Forward 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 Vedashree</dc:creator>
  <cp:lastModifiedBy>BVR Mohan Reddy</cp:lastModifiedBy>
  <cp:revision>70</cp:revision>
  <cp:lastPrinted>2015-12-22T07:45:47Z</cp:lastPrinted>
  <dcterms:created xsi:type="dcterms:W3CDTF">2014-07-08T00:02:36Z</dcterms:created>
  <dcterms:modified xsi:type="dcterms:W3CDTF">2015-12-23T03:03:31Z</dcterms:modified>
</cp:coreProperties>
</file>